
<file path=[Content_Types].xml><?xml version="1.0" encoding="utf-8"?>
<Types xmlns="http://schemas.openxmlformats.org/package/2006/content-types"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diagrams/quickStyle1.xml" ContentType="application/vnd.openxmlformats-officedocument.drawingml.diagramStyle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9" r:id="rId2"/>
  </p:sldMasterIdLst>
  <p:notesMasterIdLst>
    <p:notesMasterId r:id="rId7"/>
  </p:notesMasterIdLst>
  <p:sldIdLst>
    <p:sldId id="262" r:id="rId3"/>
    <p:sldId id="307" r:id="rId4"/>
    <p:sldId id="308" r:id="rId5"/>
    <p:sldId id="268" r:id="rId6"/>
  </p:sldIdLst>
  <p:sldSz cx="9906000" cy="6858000" type="A4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000000"/>
    <a:srgbClr val="004033"/>
    <a:srgbClr val="BA4619"/>
    <a:srgbClr val="218B5C"/>
  </p:clrMru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>
      <p:cViewPr>
        <p:scale>
          <a:sx n="66" d="100"/>
          <a:sy n="66" d="100"/>
        </p:scale>
        <p:origin x="-1350" y="-258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670989C-FFC8-4F18-8F77-DD25000FC885}" type="doc">
      <dgm:prSet loTypeId="urn:microsoft.com/office/officeart/2005/8/layout/vList5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6217922D-D326-4223-99C2-338E368D4E24}">
      <dgm:prSet phldrT="[Text]"/>
      <dgm:spPr/>
      <dgm:t>
        <a:bodyPr/>
        <a:lstStyle/>
        <a:p>
          <a:pPr algn="l"/>
          <a:r>
            <a:rPr lang="en-US" dirty="0" err="1" smtClean="0"/>
            <a:t>Contrato</a:t>
          </a:r>
          <a:r>
            <a:rPr lang="en-US" dirty="0" smtClean="0"/>
            <a:t> </a:t>
          </a:r>
          <a:r>
            <a:rPr lang="en-US" dirty="0" err="1" smtClean="0"/>
            <a:t>Mãe</a:t>
          </a:r>
          <a:endParaRPr lang="en-US" dirty="0"/>
        </a:p>
      </dgm:t>
    </dgm:pt>
    <dgm:pt modelId="{BE6C478E-AA04-4FA3-B168-D25D88FABE71}" type="parTrans" cxnId="{3E60F52E-5BF0-49E0-BE4F-644060F6C047}">
      <dgm:prSet/>
      <dgm:spPr/>
      <dgm:t>
        <a:bodyPr/>
        <a:lstStyle/>
        <a:p>
          <a:endParaRPr lang="en-US"/>
        </a:p>
      </dgm:t>
    </dgm:pt>
    <dgm:pt modelId="{7E0395BF-FCAE-42E0-B21A-DBF177726F1F}" type="sibTrans" cxnId="{3E60F52E-5BF0-49E0-BE4F-644060F6C047}">
      <dgm:prSet/>
      <dgm:spPr/>
      <dgm:t>
        <a:bodyPr/>
        <a:lstStyle/>
        <a:p>
          <a:endParaRPr lang="en-US"/>
        </a:p>
      </dgm:t>
    </dgm:pt>
    <dgm:pt modelId="{423B93CC-0E9A-4F17-8658-5046F32A205C}">
      <dgm:prSet phldrT="[Text]"/>
      <dgm:spPr/>
      <dgm:t>
        <a:bodyPr/>
        <a:lstStyle/>
        <a:p>
          <a:pPr algn="just"/>
          <a:r>
            <a:rPr lang="en-US" dirty="0" smtClean="0"/>
            <a:t>Este é o </a:t>
          </a:r>
          <a:r>
            <a:rPr lang="en-US" dirty="0" err="1" smtClean="0"/>
            <a:t>contrato</a:t>
          </a:r>
          <a:r>
            <a:rPr lang="en-US" dirty="0" smtClean="0"/>
            <a:t> </a:t>
          </a:r>
          <a:r>
            <a:rPr lang="en-US" dirty="0" err="1" smtClean="0"/>
            <a:t>que</a:t>
          </a:r>
          <a:r>
            <a:rPr lang="en-US" dirty="0" smtClean="0"/>
            <a:t> é </a:t>
          </a:r>
          <a:r>
            <a:rPr lang="en-US" dirty="0" err="1" smtClean="0"/>
            <a:t>assinado</a:t>
          </a:r>
          <a:r>
            <a:rPr lang="en-US" dirty="0" smtClean="0"/>
            <a:t> </a:t>
          </a:r>
          <a:r>
            <a:rPr lang="en-US" dirty="0" err="1" smtClean="0"/>
            <a:t>apenas</a:t>
          </a:r>
          <a:r>
            <a:rPr lang="en-US" dirty="0" smtClean="0"/>
            <a:t> </a:t>
          </a:r>
          <a:r>
            <a:rPr lang="en-US" dirty="0" err="1" smtClean="0"/>
            <a:t>uma</a:t>
          </a:r>
          <a:r>
            <a:rPr lang="en-US" dirty="0" smtClean="0"/>
            <a:t> </a:t>
          </a:r>
          <a:r>
            <a:rPr lang="en-US" dirty="0" err="1" smtClean="0"/>
            <a:t>vez</a:t>
          </a:r>
          <a:r>
            <a:rPr lang="en-US" dirty="0" smtClean="0"/>
            <a:t> </a:t>
          </a:r>
          <a:r>
            <a:rPr lang="en-US" dirty="0" err="1" smtClean="0"/>
            <a:t>pelo</a:t>
          </a:r>
          <a:r>
            <a:rPr lang="en-US" dirty="0" smtClean="0"/>
            <a:t> </a:t>
          </a:r>
          <a:r>
            <a:rPr lang="en-US" dirty="0" err="1" smtClean="0"/>
            <a:t>cooperante</a:t>
          </a:r>
          <a:r>
            <a:rPr lang="en-US" dirty="0" smtClean="0"/>
            <a:t> </a:t>
          </a:r>
          <a:r>
            <a:rPr lang="en-US" dirty="0" err="1" smtClean="0"/>
            <a:t>da</a:t>
          </a:r>
          <a:r>
            <a:rPr lang="en-US" dirty="0" smtClean="0"/>
            <a:t> Monsanto e </a:t>
          </a:r>
          <a:r>
            <a:rPr lang="en-US" dirty="0" err="1" smtClean="0"/>
            <a:t>não</a:t>
          </a:r>
          <a:r>
            <a:rPr lang="en-US" dirty="0" smtClean="0"/>
            <a:t> </a:t>
          </a:r>
          <a:r>
            <a:rPr lang="en-US" dirty="0" err="1" smtClean="0"/>
            <a:t>estabelece</a:t>
          </a:r>
          <a:r>
            <a:rPr lang="en-US" dirty="0" smtClean="0"/>
            <a:t> </a:t>
          </a:r>
          <a:r>
            <a:rPr lang="en-US" dirty="0" err="1" smtClean="0"/>
            <a:t>relação</a:t>
          </a:r>
          <a:r>
            <a:rPr lang="en-US" dirty="0" smtClean="0"/>
            <a:t> entre as </a:t>
          </a:r>
          <a:r>
            <a:rPr lang="en-US" dirty="0" err="1" smtClean="0"/>
            <a:t>partes</a:t>
          </a:r>
          <a:r>
            <a:rPr lang="en-US" dirty="0" smtClean="0"/>
            <a:t>,  </a:t>
          </a:r>
          <a:r>
            <a:rPr lang="en-US" dirty="0" err="1" smtClean="0"/>
            <a:t>sendo</a:t>
          </a:r>
          <a:r>
            <a:rPr lang="en-US" dirty="0" smtClean="0"/>
            <a:t> </a:t>
          </a:r>
          <a:r>
            <a:rPr lang="en-US" dirty="0" err="1" smtClean="0"/>
            <a:t>uma</a:t>
          </a:r>
          <a:r>
            <a:rPr lang="en-US" dirty="0" smtClean="0"/>
            <a:t> </a:t>
          </a:r>
          <a:r>
            <a:rPr lang="en-US" dirty="0" err="1" smtClean="0"/>
            <a:t>espécie</a:t>
          </a:r>
          <a:r>
            <a:rPr lang="en-US" dirty="0" smtClean="0"/>
            <a:t> de </a:t>
          </a:r>
          <a:r>
            <a:rPr lang="en-US" dirty="0" err="1" smtClean="0"/>
            <a:t>contrato</a:t>
          </a:r>
          <a:r>
            <a:rPr lang="en-US" dirty="0" smtClean="0"/>
            <a:t> </a:t>
          </a:r>
          <a:r>
            <a:rPr lang="en-US" dirty="0" err="1" smtClean="0"/>
            <a:t>guarda</a:t>
          </a:r>
          <a:r>
            <a:rPr lang="en-US" dirty="0" smtClean="0"/>
            <a:t> </a:t>
          </a:r>
          <a:r>
            <a:rPr lang="en-US" dirty="0" err="1" smtClean="0"/>
            <a:t>chuva</a:t>
          </a:r>
          <a:r>
            <a:rPr lang="en-US" dirty="0" smtClean="0"/>
            <a:t>, </a:t>
          </a:r>
          <a:r>
            <a:rPr lang="en-US" dirty="0" err="1" smtClean="0"/>
            <a:t>aonde</a:t>
          </a:r>
          <a:r>
            <a:rPr lang="en-US" dirty="0" smtClean="0"/>
            <a:t> </a:t>
          </a:r>
          <a:r>
            <a:rPr lang="en-US" dirty="0" err="1" smtClean="0"/>
            <a:t>estão</a:t>
          </a:r>
          <a:r>
            <a:rPr lang="en-US" dirty="0" smtClean="0"/>
            <a:t> </a:t>
          </a:r>
          <a:r>
            <a:rPr lang="en-US" dirty="0" err="1" smtClean="0"/>
            <a:t>previstos</a:t>
          </a:r>
          <a:r>
            <a:rPr lang="en-US" dirty="0" smtClean="0"/>
            <a:t> </a:t>
          </a:r>
          <a:r>
            <a:rPr lang="en-US" dirty="0" err="1" smtClean="0"/>
            <a:t>os</a:t>
          </a:r>
          <a:r>
            <a:rPr lang="en-US" dirty="0" smtClean="0"/>
            <a:t> </a:t>
          </a:r>
          <a:r>
            <a:rPr lang="en-US" dirty="0" err="1" smtClean="0"/>
            <a:t>critérios</a:t>
          </a:r>
          <a:r>
            <a:rPr lang="en-US" dirty="0" smtClean="0"/>
            <a:t> de </a:t>
          </a:r>
          <a:r>
            <a:rPr lang="en-US" dirty="0" err="1" smtClean="0"/>
            <a:t>descarte</a:t>
          </a:r>
          <a:r>
            <a:rPr lang="en-US" dirty="0" smtClean="0"/>
            <a:t> de material</a:t>
          </a:r>
          <a:endParaRPr lang="en-US" dirty="0"/>
        </a:p>
      </dgm:t>
    </dgm:pt>
    <dgm:pt modelId="{6A314958-96C8-4A81-A9AD-E2FD7C468184}" type="parTrans" cxnId="{27735B13-087F-40CC-B032-1B0E2EF62949}">
      <dgm:prSet/>
      <dgm:spPr/>
      <dgm:t>
        <a:bodyPr/>
        <a:lstStyle/>
        <a:p>
          <a:endParaRPr lang="en-US"/>
        </a:p>
      </dgm:t>
    </dgm:pt>
    <dgm:pt modelId="{6A956385-39F4-4F6C-9A32-5BE99FA6207C}" type="sibTrans" cxnId="{27735B13-087F-40CC-B032-1B0E2EF62949}">
      <dgm:prSet/>
      <dgm:spPr/>
      <dgm:t>
        <a:bodyPr/>
        <a:lstStyle/>
        <a:p>
          <a:endParaRPr lang="en-US"/>
        </a:p>
      </dgm:t>
    </dgm:pt>
    <dgm:pt modelId="{5E59F54A-0C4A-40CC-ADCC-63C7A8448542}">
      <dgm:prSet phldrT="[Text]"/>
      <dgm:spPr/>
      <dgm:t>
        <a:bodyPr/>
        <a:lstStyle/>
        <a:p>
          <a:pPr algn="l"/>
          <a:r>
            <a:rPr lang="en-US" dirty="0" err="1" smtClean="0"/>
            <a:t>Anexo</a:t>
          </a:r>
          <a:r>
            <a:rPr lang="en-US" dirty="0" smtClean="0"/>
            <a:t> 2.3C/2.3D</a:t>
          </a:r>
          <a:endParaRPr lang="en-US" dirty="0"/>
        </a:p>
      </dgm:t>
    </dgm:pt>
    <dgm:pt modelId="{B42CBCF0-68D9-47D2-BFEA-B03E2F844853}" type="parTrans" cxnId="{2C8A0DB2-DE98-4A61-AFB5-19A23680A96D}">
      <dgm:prSet/>
      <dgm:spPr/>
      <dgm:t>
        <a:bodyPr/>
        <a:lstStyle/>
        <a:p>
          <a:endParaRPr lang="en-US"/>
        </a:p>
      </dgm:t>
    </dgm:pt>
    <dgm:pt modelId="{DBAF6082-F1C4-4BFF-ACA4-E0F397FE8BC4}" type="sibTrans" cxnId="{2C8A0DB2-DE98-4A61-AFB5-19A23680A96D}">
      <dgm:prSet/>
      <dgm:spPr/>
      <dgm:t>
        <a:bodyPr/>
        <a:lstStyle/>
        <a:p>
          <a:endParaRPr lang="en-US"/>
        </a:p>
      </dgm:t>
    </dgm:pt>
    <dgm:pt modelId="{971BC42F-FE29-4101-B711-500758C5CE41}">
      <dgm:prSet phldrT="[Text]"/>
      <dgm:spPr/>
      <dgm:t>
        <a:bodyPr/>
        <a:lstStyle/>
        <a:p>
          <a:pPr algn="just"/>
          <a:r>
            <a:rPr lang="en-US" dirty="0" smtClean="0"/>
            <a:t>2.3C – </a:t>
          </a:r>
          <a:r>
            <a:rPr lang="en-US" dirty="0" err="1" smtClean="0"/>
            <a:t>Anexo</a:t>
          </a:r>
          <a:r>
            <a:rPr lang="en-US" dirty="0" smtClean="0"/>
            <a:t> de </a:t>
          </a:r>
          <a:r>
            <a:rPr lang="en-US" dirty="0" err="1" smtClean="0"/>
            <a:t>contratação</a:t>
          </a:r>
          <a:r>
            <a:rPr lang="en-US" dirty="0" smtClean="0"/>
            <a:t> de </a:t>
          </a:r>
          <a:r>
            <a:rPr lang="en-US" dirty="0" err="1" smtClean="0"/>
            <a:t>área</a:t>
          </a:r>
          <a:r>
            <a:rPr lang="en-US" dirty="0" smtClean="0"/>
            <a:t> </a:t>
          </a:r>
          <a:r>
            <a:rPr lang="en-US" dirty="0" err="1" smtClean="0"/>
            <a:t>para</a:t>
          </a:r>
          <a:r>
            <a:rPr lang="en-US" dirty="0" smtClean="0"/>
            <a:t> </a:t>
          </a:r>
          <a:r>
            <a:rPr lang="en-US" dirty="0" err="1" smtClean="0"/>
            <a:t>milho</a:t>
          </a:r>
          <a:r>
            <a:rPr lang="en-US" dirty="0" smtClean="0"/>
            <a:t> </a:t>
          </a:r>
          <a:r>
            <a:rPr lang="en-US" dirty="0" err="1" smtClean="0"/>
            <a:t>que</a:t>
          </a:r>
          <a:r>
            <a:rPr lang="en-US" dirty="0" smtClean="0"/>
            <a:t> </a:t>
          </a:r>
          <a:r>
            <a:rPr lang="en-US" dirty="0" err="1" smtClean="0"/>
            <a:t>prevê</a:t>
          </a:r>
          <a:r>
            <a:rPr lang="en-US" dirty="0" smtClean="0"/>
            <a:t> </a:t>
          </a:r>
          <a:r>
            <a:rPr lang="en-US" dirty="0" err="1" smtClean="0"/>
            <a:t>pós</a:t>
          </a:r>
          <a:r>
            <a:rPr lang="en-US" dirty="0" smtClean="0"/>
            <a:t>-fix, base CEPEA</a:t>
          </a:r>
          <a:endParaRPr lang="en-US" dirty="0"/>
        </a:p>
      </dgm:t>
    </dgm:pt>
    <dgm:pt modelId="{D99BD447-61D1-4507-9A0E-FE364210D3E9}" type="parTrans" cxnId="{C61D6370-ABCD-4D39-9683-FD4FDBD4DA69}">
      <dgm:prSet/>
      <dgm:spPr/>
      <dgm:t>
        <a:bodyPr/>
        <a:lstStyle/>
        <a:p>
          <a:endParaRPr lang="en-US"/>
        </a:p>
      </dgm:t>
    </dgm:pt>
    <dgm:pt modelId="{D44C1D77-10E8-4B84-80B3-680C673A70FE}" type="sibTrans" cxnId="{C61D6370-ABCD-4D39-9683-FD4FDBD4DA69}">
      <dgm:prSet/>
      <dgm:spPr/>
      <dgm:t>
        <a:bodyPr/>
        <a:lstStyle/>
        <a:p>
          <a:endParaRPr lang="en-US"/>
        </a:p>
      </dgm:t>
    </dgm:pt>
    <dgm:pt modelId="{0B18CC0D-20D8-4DC4-BDC7-49196E54264F}">
      <dgm:prSet phldrT="[Text]"/>
      <dgm:spPr/>
      <dgm:t>
        <a:bodyPr/>
        <a:lstStyle/>
        <a:p>
          <a:pPr algn="just"/>
          <a:r>
            <a:rPr lang="en-US" dirty="0" smtClean="0"/>
            <a:t>2.3D – </a:t>
          </a:r>
          <a:r>
            <a:rPr lang="en-US" dirty="0" err="1" smtClean="0"/>
            <a:t>Anexo</a:t>
          </a:r>
          <a:r>
            <a:rPr lang="en-US" dirty="0" smtClean="0"/>
            <a:t> de </a:t>
          </a:r>
          <a:r>
            <a:rPr lang="en-US" dirty="0" err="1" smtClean="0"/>
            <a:t>contratação</a:t>
          </a:r>
          <a:r>
            <a:rPr lang="en-US" dirty="0" smtClean="0"/>
            <a:t> de </a:t>
          </a:r>
          <a:r>
            <a:rPr lang="en-US" dirty="0" err="1" smtClean="0"/>
            <a:t>área</a:t>
          </a:r>
          <a:r>
            <a:rPr lang="en-US" dirty="0" smtClean="0"/>
            <a:t> </a:t>
          </a:r>
          <a:r>
            <a:rPr lang="en-US" dirty="0" err="1" smtClean="0"/>
            <a:t>para</a:t>
          </a:r>
          <a:r>
            <a:rPr lang="en-US" dirty="0" smtClean="0"/>
            <a:t> </a:t>
          </a:r>
          <a:r>
            <a:rPr lang="en-US" dirty="0" err="1" smtClean="0"/>
            <a:t>sorgo</a:t>
          </a:r>
          <a:r>
            <a:rPr lang="en-US" dirty="0" smtClean="0"/>
            <a:t> </a:t>
          </a:r>
          <a:r>
            <a:rPr lang="en-US" dirty="0" err="1" smtClean="0"/>
            <a:t>que</a:t>
          </a:r>
          <a:r>
            <a:rPr lang="en-US" dirty="0" smtClean="0"/>
            <a:t> </a:t>
          </a:r>
          <a:r>
            <a:rPr lang="en-US" dirty="0" err="1" smtClean="0"/>
            <a:t>prevê</a:t>
          </a:r>
          <a:r>
            <a:rPr lang="en-US" dirty="0" smtClean="0"/>
            <a:t> </a:t>
          </a:r>
          <a:r>
            <a:rPr lang="en-US" dirty="0" err="1" smtClean="0"/>
            <a:t>pós</a:t>
          </a:r>
          <a:r>
            <a:rPr lang="en-US" dirty="0" smtClean="0"/>
            <a:t>-fix, base CEPEA</a:t>
          </a:r>
          <a:endParaRPr lang="en-US" dirty="0"/>
        </a:p>
      </dgm:t>
    </dgm:pt>
    <dgm:pt modelId="{2CD141EE-DDDC-486B-8BB4-A3C6AD35DDE0}" type="parTrans" cxnId="{98A2C00D-0D71-4B5C-8C10-04F4DC2DA904}">
      <dgm:prSet/>
      <dgm:spPr/>
      <dgm:t>
        <a:bodyPr/>
        <a:lstStyle/>
        <a:p>
          <a:endParaRPr lang="en-US"/>
        </a:p>
      </dgm:t>
    </dgm:pt>
    <dgm:pt modelId="{098BA721-04D5-4896-807D-52A03EA42CBC}" type="sibTrans" cxnId="{98A2C00D-0D71-4B5C-8C10-04F4DC2DA904}">
      <dgm:prSet/>
      <dgm:spPr/>
      <dgm:t>
        <a:bodyPr/>
        <a:lstStyle/>
        <a:p>
          <a:endParaRPr lang="en-US"/>
        </a:p>
      </dgm:t>
    </dgm:pt>
    <dgm:pt modelId="{182582FE-272F-428D-B592-555FA4F38ECA}">
      <dgm:prSet phldrT="[Text]"/>
      <dgm:spPr/>
      <dgm:t>
        <a:bodyPr/>
        <a:lstStyle/>
        <a:p>
          <a:pPr algn="l"/>
          <a:r>
            <a:rPr lang="en-US" dirty="0" err="1" smtClean="0"/>
            <a:t>Anexo</a:t>
          </a:r>
          <a:r>
            <a:rPr lang="en-US" dirty="0" smtClean="0"/>
            <a:t> 2.3A/2.3B</a:t>
          </a:r>
          <a:endParaRPr lang="en-US" dirty="0"/>
        </a:p>
      </dgm:t>
    </dgm:pt>
    <dgm:pt modelId="{4204A66D-A251-4F35-85DA-24CBB5898FE2}" type="parTrans" cxnId="{C6782C2E-3FB4-4A07-B6DD-84AD0D16809A}">
      <dgm:prSet/>
      <dgm:spPr/>
      <dgm:t>
        <a:bodyPr/>
        <a:lstStyle/>
        <a:p>
          <a:endParaRPr lang="en-US"/>
        </a:p>
      </dgm:t>
    </dgm:pt>
    <dgm:pt modelId="{59F1CA7E-C0F1-46FB-882E-DB7948F90317}" type="sibTrans" cxnId="{C6782C2E-3FB4-4A07-B6DD-84AD0D16809A}">
      <dgm:prSet/>
      <dgm:spPr/>
      <dgm:t>
        <a:bodyPr/>
        <a:lstStyle/>
        <a:p>
          <a:endParaRPr lang="en-US"/>
        </a:p>
      </dgm:t>
    </dgm:pt>
    <dgm:pt modelId="{13252CA0-E1C8-46C9-9F65-40528254384C}">
      <dgm:prSet phldrT="[Text]"/>
      <dgm:spPr/>
      <dgm:t>
        <a:bodyPr/>
        <a:lstStyle/>
        <a:p>
          <a:pPr algn="just"/>
          <a:r>
            <a:rPr lang="en-US" dirty="0" smtClean="0"/>
            <a:t>2.3A – </a:t>
          </a:r>
          <a:r>
            <a:rPr lang="en-US" dirty="0" err="1" smtClean="0"/>
            <a:t>Anexo</a:t>
          </a:r>
          <a:r>
            <a:rPr lang="en-US" dirty="0" smtClean="0"/>
            <a:t> de </a:t>
          </a:r>
          <a:r>
            <a:rPr lang="en-US" dirty="0" err="1" smtClean="0"/>
            <a:t>contratação</a:t>
          </a:r>
          <a:r>
            <a:rPr lang="en-US" dirty="0" smtClean="0"/>
            <a:t> de </a:t>
          </a:r>
          <a:r>
            <a:rPr lang="en-US" dirty="0" err="1" smtClean="0"/>
            <a:t>área</a:t>
          </a:r>
          <a:r>
            <a:rPr lang="en-US" dirty="0" smtClean="0"/>
            <a:t> </a:t>
          </a:r>
          <a:r>
            <a:rPr lang="en-US" dirty="0" err="1" smtClean="0"/>
            <a:t>para</a:t>
          </a:r>
          <a:r>
            <a:rPr lang="en-US" dirty="0" smtClean="0"/>
            <a:t> </a:t>
          </a:r>
          <a:r>
            <a:rPr lang="en-US" dirty="0" err="1" smtClean="0"/>
            <a:t>milho</a:t>
          </a:r>
          <a:r>
            <a:rPr lang="en-US" dirty="0" smtClean="0"/>
            <a:t> com </a:t>
          </a:r>
          <a:r>
            <a:rPr lang="en-US" dirty="0" err="1" smtClean="0"/>
            <a:t>pré</a:t>
          </a:r>
          <a:r>
            <a:rPr lang="en-US" dirty="0" smtClean="0"/>
            <a:t>-fix, base BMF</a:t>
          </a:r>
          <a:endParaRPr lang="en-US" dirty="0"/>
        </a:p>
      </dgm:t>
    </dgm:pt>
    <dgm:pt modelId="{26394C9A-9C64-40C0-98B7-9EEDD605F09C}" type="parTrans" cxnId="{8C2A0459-0098-47F4-99DD-4D84CD3C1AE8}">
      <dgm:prSet/>
      <dgm:spPr/>
      <dgm:t>
        <a:bodyPr/>
        <a:lstStyle/>
        <a:p>
          <a:endParaRPr lang="en-US"/>
        </a:p>
      </dgm:t>
    </dgm:pt>
    <dgm:pt modelId="{4B1AE569-F60B-4606-AA27-CEFBDF1C9887}" type="sibTrans" cxnId="{8C2A0459-0098-47F4-99DD-4D84CD3C1AE8}">
      <dgm:prSet/>
      <dgm:spPr/>
      <dgm:t>
        <a:bodyPr/>
        <a:lstStyle/>
        <a:p>
          <a:endParaRPr lang="en-US"/>
        </a:p>
      </dgm:t>
    </dgm:pt>
    <dgm:pt modelId="{E42A6BF4-58D0-4CA1-97D9-21231B1C2B29}">
      <dgm:prSet phldrT="[Text]"/>
      <dgm:spPr/>
      <dgm:t>
        <a:bodyPr/>
        <a:lstStyle/>
        <a:p>
          <a:pPr algn="l"/>
          <a:r>
            <a:rPr lang="en-US" dirty="0" err="1" smtClean="0"/>
            <a:t>Aditivos</a:t>
          </a:r>
          <a:endParaRPr lang="en-US" dirty="0"/>
        </a:p>
      </dgm:t>
    </dgm:pt>
    <dgm:pt modelId="{E84D908D-7B07-49C1-9375-756D600234E5}" type="parTrans" cxnId="{0D971C47-625C-47F6-8FE7-3ABDB7F9DFE8}">
      <dgm:prSet/>
      <dgm:spPr/>
      <dgm:t>
        <a:bodyPr/>
        <a:lstStyle/>
        <a:p>
          <a:endParaRPr lang="en-US"/>
        </a:p>
      </dgm:t>
    </dgm:pt>
    <dgm:pt modelId="{2E132F9E-D9A1-4CC4-A101-6B8DCB024BB6}" type="sibTrans" cxnId="{0D971C47-625C-47F6-8FE7-3ABDB7F9DFE8}">
      <dgm:prSet/>
      <dgm:spPr/>
      <dgm:t>
        <a:bodyPr/>
        <a:lstStyle/>
        <a:p>
          <a:endParaRPr lang="en-US"/>
        </a:p>
      </dgm:t>
    </dgm:pt>
    <dgm:pt modelId="{325AD362-120D-4DE5-8951-BFBF4775B4F3}">
      <dgm:prSet phldrT="[Text]"/>
      <dgm:spPr/>
      <dgm:t>
        <a:bodyPr/>
        <a:lstStyle/>
        <a:p>
          <a:pPr algn="l"/>
          <a:r>
            <a:rPr lang="en-US" dirty="0" err="1" smtClean="0"/>
            <a:t>Carta</a:t>
          </a:r>
          <a:r>
            <a:rPr lang="en-US" dirty="0" smtClean="0"/>
            <a:t> </a:t>
          </a:r>
          <a:r>
            <a:rPr lang="en-US" dirty="0" err="1" smtClean="0"/>
            <a:t>Ágio</a:t>
          </a:r>
          <a:endParaRPr lang="en-US" dirty="0"/>
        </a:p>
      </dgm:t>
    </dgm:pt>
    <dgm:pt modelId="{71F950BF-F862-477D-9BC4-365BCD446136}" type="parTrans" cxnId="{6CB6F1F8-7A5F-4E7D-9DD8-A7816A628940}">
      <dgm:prSet/>
      <dgm:spPr/>
      <dgm:t>
        <a:bodyPr/>
        <a:lstStyle/>
        <a:p>
          <a:endParaRPr lang="en-US"/>
        </a:p>
      </dgm:t>
    </dgm:pt>
    <dgm:pt modelId="{9071D1CF-8C54-4C6D-9DFD-5B1F3E681A6B}" type="sibTrans" cxnId="{6CB6F1F8-7A5F-4E7D-9DD8-A7816A628940}">
      <dgm:prSet/>
      <dgm:spPr/>
      <dgm:t>
        <a:bodyPr/>
        <a:lstStyle/>
        <a:p>
          <a:endParaRPr lang="en-US"/>
        </a:p>
      </dgm:t>
    </dgm:pt>
    <dgm:pt modelId="{692063C2-49EC-486C-B382-F33BAF983987}">
      <dgm:prSet phldrT="[Text]"/>
      <dgm:spPr/>
      <dgm:t>
        <a:bodyPr/>
        <a:lstStyle/>
        <a:p>
          <a:pPr algn="just"/>
          <a:r>
            <a:rPr lang="en-US" dirty="0" err="1" smtClean="0"/>
            <a:t>Diversos</a:t>
          </a:r>
          <a:r>
            <a:rPr lang="en-US" dirty="0" smtClean="0"/>
            <a:t> </a:t>
          </a:r>
          <a:r>
            <a:rPr lang="en-US" dirty="0" err="1" smtClean="0"/>
            <a:t>aditivos</a:t>
          </a:r>
          <a:r>
            <a:rPr lang="en-US" dirty="0" smtClean="0"/>
            <a:t> de </a:t>
          </a:r>
          <a:r>
            <a:rPr lang="en-US" dirty="0" err="1" smtClean="0"/>
            <a:t>serviços</a:t>
          </a:r>
          <a:r>
            <a:rPr lang="en-US" dirty="0" smtClean="0"/>
            <a:t> </a:t>
          </a:r>
          <a:r>
            <a:rPr lang="en-US" dirty="0" err="1" smtClean="0"/>
            <a:t>realizados</a:t>
          </a:r>
          <a:r>
            <a:rPr lang="en-US" dirty="0" smtClean="0"/>
            <a:t> </a:t>
          </a:r>
          <a:r>
            <a:rPr lang="en-US" dirty="0" err="1" smtClean="0"/>
            <a:t>pelos</a:t>
          </a:r>
          <a:r>
            <a:rPr lang="en-US" dirty="0" smtClean="0"/>
            <a:t> </a:t>
          </a:r>
          <a:r>
            <a:rPr lang="en-US" dirty="0" err="1" smtClean="0"/>
            <a:t>cooperantes</a:t>
          </a:r>
          <a:r>
            <a:rPr lang="en-US" dirty="0" smtClean="0"/>
            <a:t> </a:t>
          </a:r>
          <a:r>
            <a:rPr lang="en-US" dirty="0" err="1" smtClean="0"/>
            <a:t>são</a:t>
          </a:r>
          <a:r>
            <a:rPr lang="en-US" dirty="0" smtClean="0"/>
            <a:t> </a:t>
          </a:r>
          <a:r>
            <a:rPr lang="en-US" dirty="0" err="1" smtClean="0"/>
            <a:t>fornecidos</a:t>
          </a:r>
          <a:r>
            <a:rPr lang="en-US" dirty="0" smtClean="0"/>
            <a:t> de </a:t>
          </a:r>
          <a:r>
            <a:rPr lang="en-US" dirty="0" err="1" smtClean="0"/>
            <a:t>acordo</a:t>
          </a:r>
          <a:r>
            <a:rPr lang="en-US" dirty="0" smtClean="0"/>
            <a:t> com a </a:t>
          </a:r>
          <a:r>
            <a:rPr lang="en-US" dirty="0" err="1" smtClean="0"/>
            <a:t>variedade</a:t>
          </a:r>
          <a:r>
            <a:rPr lang="en-US" dirty="0" smtClean="0"/>
            <a:t> de </a:t>
          </a:r>
          <a:r>
            <a:rPr lang="en-US" dirty="0" err="1" smtClean="0"/>
            <a:t>serviços</a:t>
          </a:r>
          <a:r>
            <a:rPr lang="en-US" dirty="0" smtClean="0"/>
            <a:t> </a:t>
          </a:r>
          <a:r>
            <a:rPr lang="en-US" dirty="0" err="1" smtClean="0"/>
            <a:t>que</a:t>
          </a:r>
          <a:r>
            <a:rPr lang="en-US" dirty="0" smtClean="0"/>
            <a:t> </a:t>
          </a:r>
          <a:r>
            <a:rPr lang="en-US" dirty="0" err="1" smtClean="0"/>
            <a:t>eles</a:t>
          </a:r>
          <a:r>
            <a:rPr lang="en-US" dirty="0" smtClean="0"/>
            <a:t> </a:t>
          </a:r>
          <a:r>
            <a:rPr lang="en-US" dirty="0" err="1" smtClean="0"/>
            <a:t>acordam</a:t>
          </a:r>
          <a:r>
            <a:rPr lang="en-US" dirty="0" smtClean="0"/>
            <a:t> </a:t>
          </a:r>
          <a:r>
            <a:rPr lang="en-US" dirty="0" err="1" smtClean="0"/>
            <a:t>fazer</a:t>
          </a:r>
          <a:r>
            <a:rPr lang="en-US" dirty="0" smtClean="0"/>
            <a:t> </a:t>
          </a:r>
          <a:r>
            <a:rPr lang="en-US" dirty="0" err="1" smtClean="0"/>
            <a:t>nos</a:t>
          </a:r>
          <a:r>
            <a:rPr lang="en-US" dirty="0" smtClean="0"/>
            <a:t> </a:t>
          </a:r>
          <a:r>
            <a:rPr lang="en-US" dirty="0" err="1" smtClean="0"/>
            <a:t>campos</a:t>
          </a:r>
          <a:r>
            <a:rPr lang="en-US" dirty="0" smtClean="0"/>
            <a:t> </a:t>
          </a:r>
          <a:r>
            <a:rPr lang="en-US" dirty="0" err="1" smtClean="0"/>
            <a:t>da</a:t>
          </a:r>
          <a:r>
            <a:rPr lang="en-US" dirty="0" smtClean="0"/>
            <a:t> </a:t>
          </a:r>
          <a:r>
            <a:rPr lang="en-US" dirty="0" err="1" smtClean="0"/>
            <a:t>monsanto</a:t>
          </a:r>
          <a:r>
            <a:rPr lang="en-US" dirty="0" smtClean="0"/>
            <a:t>, </a:t>
          </a:r>
          <a:r>
            <a:rPr lang="en-US" dirty="0" err="1" smtClean="0"/>
            <a:t>quanto</a:t>
          </a:r>
          <a:r>
            <a:rPr lang="en-US" dirty="0" smtClean="0"/>
            <a:t> </a:t>
          </a:r>
          <a:r>
            <a:rPr lang="en-US" dirty="0" err="1" smtClean="0"/>
            <a:t>mais</a:t>
          </a:r>
          <a:r>
            <a:rPr lang="en-US" dirty="0" smtClean="0"/>
            <a:t> </a:t>
          </a:r>
          <a:r>
            <a:rPr lang="en-US" dirty="0" err="1" smtClean="0"/>
            <a:t>serviços</a:t>
          </a:r>
          <a:r>
            <a:rPr lang="en-US" dirty="0" smtClean="0"/>
            <a:t> </a:t>
          </a:r>
          <a:r>
            <a:rPr lang="en-US" dirty="0" err="1" smtClean="0"/>
            <a:t>mais</a:t>
          </a:r>
          <a:r>
            <a:rPr lang="en-US" dirty="0" smtClean="0"/>
            <a:t> </a:t>
          </a:r>
          <a:r>
            <a:rPr lang="en-US" dirty="0" err="1" smtClean="0"/>
            <a:t>pagamos</a:t>
          </a:r>
          <a:r>
            <a:rPr lang="en-US" dirty="0" smtClean="0"/>
            <a:t> </a:t>
          </a:r>
          <a:r>
            <a:rPr lang="en-US" dirty="0" err="1" smtClean="0"/>
            <a:t>em</a:t>
          </a:r>
          <a:r>
            <a:rPr lang="en-US" dirty="0" smtClean="0"/>
            <a:t> </a:t>
          </a:r>
          <a:r>
            <a:rPr lang="en-US" dirty="0" err="1" smtClean="0"/>
            <a:t>termos</a:t>
          </a:r>
          <a:r>
            <a:rPr lang="en-US" dirty="0" smtClean="0"/>
            <a:t> de </a:t>
          </a:r>
          <a:r>
            <a:rPr lang="en-US" dirty="0" err="1" smtClean="0"/>
            <a:t>equivalência</a:t>
          </a:r>
          <a:r>
            <a:rPr lang="en-US" dirty="0" smtClean="0"/>
            <a:t> </a:t>
          </a:r>
          <a:r>
            <a:rPr lang="en-US" dirty="0" err="1" smtClean="0"/>
            <a:t>comercial</a:t>
          </a:r>
          <a:endParaRPr lang="en-US" dirty="0"/>
        </a:p>
      </dgm:t>
    </dgm:pt>
    <dgm:pt modelId="{FCD3BC3E-F97A-41AB-B649-211F8F5AB53D}" type="parTrans" cxnId="{CDA0DDD8-F7EF-4D48-94E9-39B00A5BB581}">
      <dgm:prSet/>
      <dgm:spPr/>
      <dgm:t>
        <a:bodyPr/>
        <a:lstStyle/>
        <a:p>
          <a:endParaRPr lang="en-US"/>
        </a:p>
      </dgm:t>
    </dgm:pt>
    <dgm:pt modelId="{257E9B37-3E94-456D-96DC-93EAD6BC7510}" type="sibTrans" cxnId="{CDA0DDD8-F7EF-4D48-94E9-39B00A5BB581}">
      <dgm:prSet/>
      <dgm:spPr/>
      <dgm:t>
        <a:bodyPr/>
        <a:lstStyle/>
        <a:p>
          <a:endParaRPr lang="en-US"/>
        </a:p>
      </dgm:t>
    </dgm:pt>
    <dgm:pt modelId="{D25725C0-C090-42F6-A8CB-EDC125C1E61C}">
      <dgm:prSet phldrT="[Text]"/>
      <dgm:spPr/>
      <dgm:t>
        <a:bodyPr/>
        <a:lstStyle/>
        <a:p>
          <a:pPr algn="just"/>
          <a:r>
            <a:rPr lang="en-US" dirty="0" smtClean="0"/>
            <a:t>A </a:t>
          </a:r>
          <a:r>
            <a:rPr lang="en-US" dirty="0" err="1" smtClean="0"/>
            <a:t>produção</a:t>
          </a:r>
          <a:r>
            <a:rPr lang="en-US" dirty="0" smtClean="0"/>
            <a:t> de </a:t>
          </a:r>
          <a:r>
            <a:rPr lang="en-US" dirty="0" err="1" smtClean="0"/>
            <a:t>sementes</a:t>
          </a:r>
          <a:r>
            <a:rPr lang="en-US" dirty="0" smtClean="0"/>
            <a:t> é </a:t>
          </a:r>
          <a:r>
            <a:rPr lang="en-US" dirty="0" err="1" smtClean="0"/>
            <a:t>naturalmente</a:t>
          </a:r>
          <a:r>
            <a:rPr lang="en-US" dirty="0" smtClean="0"/>
            <a:t> </a:t>
          </a:r>
          <a:r>
            <a:rPr lang="en-US" dirty="0" err="1" smtClean="0"/>
            <a:t>menos</a:t>
          </a:r>
          <a:r>
            <a:rPr lang="en-US" dirty="0" smtClean="0"/>
            <a:t> </a:t>
          </a:r>
          <a:r>
            <a:rPr lang="en-US" dirty="0" err="1" smtClean="0"/>
            <a:t>produtiva</a:t>
          </a:r>
          <a:r>
            <a:rPr lang="en-US" dirty="0" smtClean="0"/>
            <a:t> do </a:t>
          </a:r>
          <a:r>
            <a:rPr lang="en-US" dirty="0" err="1" smtClean="0"/>
            <a:t>que</a:t>
          </a:r>
          <a:r>
            <a:rPr lang="en-US" dirty="0" smtClean="0"/>
            <a:t> a </a:t>
          </a:r>
          <a:r>
            <a:rPr lang="en-US" dirty="0" err="1" smtClean="0"/>
            <a:t>comercial</a:t>
          </a:r>
          <a:r>
            <a:rPr lang="en-US" dirty="0" smtClean="0"/>
            <a:t>, </a:t>
          </a:r>
          <a:r>
            <a:rPr lang="en-US" dirty="0" err="1" smtClean="0"/>
            <a:t>pagamos</a:t>
          </a:r>
          <a:r>
            <a:rPr lang="en-US" dirty="0" smtClean="0"/>
            <a:t> </a:t>
          </a:r>
          <a:r>
            <a:rPr lang="en-US" dirty="0" err="1" smtClean="0"/>
            <a:t>uma</a:t>
          </a:r>
          <a:r>
            <a:rPr lang="en-US" dirty="0" smtClean="0"/>
            <a:t> </a:t>
          </a:r>
          <a:r>
            <a:rPr lang="en-US" dirty="0" err="1" smtClean="0"/>
            <a:t>equivalência</a:t>
          </a:r>
          <a:r>
            <a:rPr lang="en-US" dirty="0" smtClean="0"/>
            <a:t> </a:t>
          </a:r>
          <a:r>
            <a:rPr lang="en-US" dirty="0" err="1" smtClean="0"/>
            <a:t>para</a:t>
          </a:r>
          <a:r>
            <a:rPr lang="en-US" dirty="0" smtClean="0"/>
            <a:t> </a:t>
          </a:r>
          <a:r>
            <a:rPr lang="en-US" dirty="0" err="1" smtClean="0"/>
            <a:t>aumentar</a:t>
          </a:r>
          <a:r>
            <a:rPr lang="en-US" dirty="0" smtClean="0"/>
            <a:t> a </a:t>
          </a:r>
          <a:r>
            <a:rPr lang="en-US" dirty="0" err="1" smtClean="0"/>
            <a:t>atratividade</a:t>
          </a:r>
          <a:r>
            <a:rPr lang="en-US" dirty="0" smtClean="0"/>
            <a:t>, </a:t>
          </a:r>
          <a:r>
            <a:rPr lang="en-US" dirty="0" err="1" smtClean="0"/>
            <a:t>esta</a:t>
          </a:r>
          <a:r>
            <a:rPr lang="en-US" dirty="0" smtClean="0"/>
            <a:t> é </a:t>
          </a:r>
          <a:r>
            <a:rPr lang="en-US" dirty="0" err="1" smtClean="0"/>
            <a:t>expressa</a:t>
          </a:r>
          <a:r>
            <a:rPr lang="en-US" dirty="0" smtClean="0"/>
            <a:t> </a:t>
          </a:r>
          <a:r>
            <a:rPr lang="en-US" dirty="0" err="1" smtClean="0"/>
            <a:t>na</a:t>
          </a:r>
          <a:r>
            <a:rPr lang="en-US" dirty="0" smtClean="0"/>
            <a:t> </a:t>
          </a:r>
          <a:r>
            <a:rPr lang="en-US" dirty="0" err="1" smtClean="0"/>
            <a:t>Carta</a:t>
          </a:r>
          <a:r>
            <a:rPr lang="en-US" dirty="0" smtClean="0"/>
            <a:t> </a:t>
          </a:r>
          <a:r>
            <a:rPr lang="en-US" dirty="0" err="1" smtClean="0"/>
            <a:t>Ágio</a:t>
          </a:r>
          <a:r>
            <a:rPr lang="en-US" dirty="0" smtClean="0"/>
            <a:t>, </a:t>
          </a:r>
          <a:r>
            <a:rPr lang="en-US" dirty="0" err="1" smtClean="0"/>
            <a:t>geralmente</a:t>
          </a:r>
          <a:r>
            <a:rPr lang="en-US" dirty="0" smtClean="0"/>
            <a:t> </a:t>
          </a:r>
          <a:r>
            <a:rPr lang="en-US" dirty="0" err="1" smtClean="0"/>
            <a:t>gerada</a:t>
          </a:r>
          <a:r>
            <a:rPr lang="en-US" dirty="0" smtClean="0"/>
            <a:t> no final </a:t>
          </a:r>
          <a:r>
            <a:rPr lang="en-US" dirty="0" err="1" smtClean="0"/>
            <a:t>da</a:t>
          </a:r>
          <a:r>
            <a:rPr lang="en-US" dirty="0" smtClean="0"/>
            <a:t> </a:t>
          </a:r>
          <a:r>
            <a:rPr lang="en-US" dirty="0" err="1" smtClean="0"/>
            <a:t>safra</a:t>
          </a:r>
          <a:r>
            <a:rPr lang="en-US" dirty="0" smtClean="0"/>
            <a:t> com a </a:t>
          </a:r>
          <a:r>
            <a:rPr lang="en-US" dirty="0" err="1" smtClean="0"/>
            <a:t>aprovação</a:t>
          </a:r>
          <a:r>
            <a:rPr lang="en-US" dirty="0" smtClean="0"/>
            <a:t> das </a:t>
          </a:r>
          <a:r>
            <a:rPr lang="en-US" dirty="0" err="1" smtClean="0"/>
            <a:t>condições</a:t>
          </a:r>
          <a:r>
            <a:rPr lang="en-US" dirty="0" smtClean="0"/>
            <a:t> </a:t>
          </a:r>
          <a:r>
            <a:rPr lang="en-US" dirty="0" err="1" smtClean="0"/>
            <a:t>comerciais</a:t>
          </a:r>
          <a:endParaRPr lang="en-US" dirty="0"/>
        </a:p>
      </dgm:t>
    </dgm:pt>
    <dgm:pt modelId="{96ECD44D-E8D2-44DE-90C1-58A379185702}" type="parTrans" cxnId="{0C28B8DB-5553-40E0-9D94-B303C0E7B6FE}">
      <dgm:prSet/>
      <dgm:spPr/>
      <dgm:t>
        <a:bodyPr/>
        <a:lstStyle/>
        <a:p>
          <a:endParaRPr lang="en-US"/>
        </a:p>
      </dgm:t>
    </dgm:pt>
    <dgm:pt modelId="{3E457071-08C4-44F7-9477-D88A2D7F0329}" type="sibTrans" cxnId="{0C28B8DB-5553-40E0-9D94-B303C0E7B6FE}">
      <dgm:prSet/>
      <dgm:spPr/>
      <dgm:t>
        <a:bodyPr/>
        <a:lstStyle/>
        <a:p>
          <a:endParaRPr lang="en-US"/>
        </a:p>
      </dgm:t>
    </dgm:pt>
    <dgm:pt modelId="{C4AEEF3B-FEA6-44B1-85B0-74560BB404B2}">
      <dgm:prSet phldrT="[Text]"/>
      <dgm:spPr/>
      <dgm:t>
        <a:bodyPr/>
        <a:lstStyle/>
        <a:p>
          <a:pPr algn="just"/>
          <a:r>
            <a:rPr lang="en-US" dirty="0" smtClean="0"/>
            <a:t>Estes </a:t>
          </a:r>
          <a:r>
            <a:rPr lang="en-US" dirty="0" err="1" smtClean="0"/>
            <a:t>são</a:t>
          </a:r>
          <a:r>
            <a:rPr lang="en-US" dirty="0" smtClean="0"/>
            <a:t> </a:t>
          </a:r>
          <a:r>
            <a:rPr lang="en-US" dirty="0" err="1" smtClean="0"/>
            <a:t>os</a:t>
          </a:r>
          <a:r>
            <a:rPr lang="en-US" dirty="0" smtClean="0"/>
            <a:t> </a:t>
          </a:r>
          <a:r>
            <a:rPr lang="en-US" dirty="0" err="1" smtClean="0"/>
            <a:t>distratos</a:t>
          </a:r>
          <a:r>
            <a:rPr lang="en-US" dirty="0" smtClean="0"/>
            <a:t> no </a:t>
          </a:r>
          <a:r>
            <a:rPr lang="en-US" dirty="0" err="1" smtClean="0"/>
            <a:t>caso</a:t>
          </a:r>
          <a:r>
            <a:rPr lang="en-US" dirty="0" smtClean="0"/>
            <a:t> de </a:t>
          </a:r>
          <a:r>
            <a:rPr lang="en-US" dirty="0" err="1" smtClean="0"/>
            <a:t>cessão</a:t>
          </a:r>
          <a:r>
            <a:rPr lang="en-US" dirty="0" smtClean="0"/>
            <a:t> de </a:t>
          </a:r>
          <a:r>
            <a:rPr lang="en-US" dirty="0" err="1" smtClean="0"/>
            <a:t>contratação</a:t>
          </a:r>
          <a:r>
            <a:rPr lang="en-US" dirty="0" smtClean="0"/>
            <a:t> </a:t>
          </a:r>
          <a:r>
            <a:rPr lang="en-US" dirty="0" err="1" smtClean="0"/>
            <a:t>da</a:t>
          </a:r>
          <a:r>
            <a:rPr lang="en-US" dirty="0" smtClean="0"/>
            <a:t> </a:t>
          </a:r>
          <a:r>
            <a:rPr lang="en-US" dirty="0" err="1" smtClean="0"/>
            <a:t>área</a:t>
          </a:r>
          <a:r>
            <a:rPr lang="en-US" dirty="0" smtClean="0"/>
            <a:t> do </a:t>
          </a:r>
          <a:r>
            <a:rPr lang="en-US" dirty="0" err="1" smtClean="0"/>
            <a:t>cooperante</a:t>
          </a:r>
          <a:r>
            <a:rPr lang="en-US" dirty="0" smtClean="0"/>
            <a:t>, tem </a:t>
          </a:r>
          <a:r>
            <a:rPr lang="en-US" dirty="0" err="1" smtClean="0"/>
            <a:t>diferentes</a:t>
          </a:r>
          <a:r>
            <a:rPr lang="en-US" dirty="0" smtClean="0"/>
            <a:t> </a:t>
          </a:r>
          <a:r>
            <a:rPr lang="en-US" dirty="0" err="1" smtClean="0"/>
            <a:t>naturezas</a:t>
          </a:r>
          <a:r>
            <a:rPr lang="en-US" dirty="0" smtClean="0"/>
            <a:t> a </a:t>
          </a:r>
          <a:r>
            <a:rPr lang="en-US" dirty="0" err="1" smtClean="0"/>
            <a:t>depender</a:t>
          </a:r>
          <a:r>
            <a:rPr lang="en-US" dirty="0" smtClean="0"/>
            <a:t> do status do campo e </a:t>
          </a:r>
          <a:r>
            <a:rPr lang="en-US" dirty="0" err="1" smtClean="0"/>
            <a:t>da</a:t>
          </a:r>
          <a:r>
            <a:rPr lang="en-US" dirty="0" smtClean="0"/>
            <a:t> </a:t>
          </a:r>
          <a:r>
            <a:rPr lang="en-US" dirty="0" err="1" smtClean="0"/>
            <a:t>negociação</a:t>
          </a:r>
          <a:r>
            <a:rPr lang="en-US" dirty="0" smtClean="0"/>
            <a:t> com o </a:t>
          </a:r>
          <a:r>
            <a:rPr lang="en-US" dirty="0" err="1" smtClean="0"/>
            <a:t>cooperante</a:t>
          </a:r>
          <a:endParaRPr lang="en-US" dirty="0"/>
        </a:p>
      </dgm:t>
    </dgm:pt>
    <dgm:pt modelId="{CE4AF94E-9208-4F6D-A5F8-37ECE1296EF5}" type="parTrans" cxnId="{D0E6E6DC-B397-4314-856B-07FF4697B740}">
      <dgm:prSet/>
      <dgm:spPr/>
      <dgm:t>
        <a:bodyPr/>
        <a:lstStyle/>
        <a:p>
          <a:endParaRPr lang="en-US"/>
        </a:p>
      </dgm:t>
    </dgm:pt>
    <dgm:pt modelId="{C56535EF-B012-4D07-9B7F-AF40B56C0A7F}" type="sibTrans" cxnId="{D0E6E6DC-B397-4314-856B-07FF4697B740}">
      <dgm:prSet/>
      <dgm:spPr/>
      <dgm:t>
        <a:bodyPr/>
        <a:lstStyle/>
        <a:p>
          <a:endParaRPr lang="en-US"/>
        </a:p>
      </dgm:t>
    </dgm:pt>
    <dgm:pt modelId="{D265FDF5-B10D-4F30-A87D-B8CBE7F41396}">
      <dgm:prSet/>
      <dgm:spPr/>
      <dgm:t>
        <a:bodyPr/>
        <a:lstStyle/>
        <a:p>
          <a:pPr algn="just"/>
          <a:r>
            <a:rPr lang="en-US" dirty="0" smtClean="0"/>
            <a:t>2.3B – </a:t>
          </a:r>
          <a:r>
            <a:rPr lang="en-US" dirty="0" err="1" smtClean="0"/>
            <a:t>Anexo</a:t>
          </a:r>
          <a:r>
            <a:rPr lang="en-US" dirty="0" smtClean="0"/>
            <a:t> de </a:t>
          </a:r>
          <a:r>
            <a:rPr lang="en-US" dirty="0" err="1" smtClean="0"/>
            <a:t>contratação</a:t>
          </a:r>
          <a:r>
            <a:rPr lang="en-US" dirty="0" smtClean="0"/>
            <a:t> de </a:t>
          </a:r>
          <a:r>
            <a:rPr lang="en-US" dirty="0" err="1" smtClean="0"/>
            <a:t>área</a:t>
          </a:r>
          <a:r>
            <a:rPr lang="en-US" dirty="0" smtClean="0"/>
            <a:t> </a:t>
          </a:r>
          <a:r>
            <a:rPr lang="en-US" dirty="0" err="1" smtClean="0"/>
            <a:t>para</a:t>
          </a:r>
          <a:r>
            <a:rPr lang="en-US" dirty="0" smtClean="0"/>
            <a:t> </a:t>
          </a:r>
          <a:r>
            <a:rPr lang="en-US" dirty="0" err="1" smtClean="0"/>
            <a:t>sorgo</a:t>
          </a:r>
          <a:r>
            <a:rPr lang="en-US" dirty="0" smtClean="0"/>
            <a:t> com </a:t>
          </a:r>
          <a:r>
            <a:rPr lang="en-US" dirty="0" err="1" smtClean="0"/>
            <a:t>pré</a:t>
          </a:r>
          <a:r>
            <a:rPr lang="en-US" dirty="0" smtClean="0"/>
            <a:t>-fix, base BMF</a:t>
          </a:r>
          <a:endParaRPr lang="en-US" dirty="0"/>
        </a:p>
      </dgm:t>
    </dgm:pt>
    <dgm:pt modelId="{57B49BFD-8572-40B4-B828-F5779627E7E4}" type="parTrans" cxnId="{6C55E1B0-84A3-4F6E-BDBE-F94C872710FF}">
      <dgm:prSet/>
      <dgm:spPr/>
      <dgm:t>
        <a:bodyPr/>
        <a:lstStyle/>
        <a:p>
          <a:endParaRPr lang="en-US"/>
        </a:p>
      </dgm:t>
    </dgm:pt>
    <dgm:pt modelId="{3DCB9D5A-6A1B-42DC-B9FA-21AE3AF0B6A6}" type="sibTrans" cxnId="{6C55E1B0-84A3-4F6E-BDBE-F94C872710FF}">
      <dgm:prSet/>
      <dgm:spPr/>
      <dgm:t>
        <a:bodyPr/>
        <a:lstStyle/>
        <a:p>
          <a:endParaRPr lang="en-US"/>
        </a:p>
      </dgm:t>
    </dgm:pt>
    <dgm:pt modelId="{FD1CCAA3-3A2F-473D-AF0F-0C8DA6CE764E}">
      <dgm:prSet phldrT="[Text]"/>
      <dgm:spPr/>
      <dgm:t>
        <a:bodyPr/>
        <a:lstStyle/>
        <a:p>
          <a:pPr algn="l"/>
          <a:r>
            <a:rPr lang="en-US" dirty="0" err="1" smtClean="0"/>
            <a:t>Distratos</a:t>
          </a:r>
          <a:endParaRPr lang="en-US" dirty="0"/>
        </a:p>
      </dgm:t>
    </dgm:pt>
    <dgm:pt modelId="{891001FB-ECF8-4357-A107-478CA0D864A9}" type="sibTrans" cxnId="{EAC4813B-8EEE-4804-A60A-018A1EB4FEC0}">
      <dgm:prSet/>
      <dgm:spPr/>
      <dgm:t>
        <a:bodyPr/>
        <a:lstStyle/>
        <a:p>
          <a:endParaRPr lang="en-US"/>
        </a:p>
      </dgm:t>
    </dgm:pt>
    <dgm:pt modelId="{34292389-3635-478A-8181-ECBBC4EDFF00}" type="parTrans" cxnId="{EAC4813B-8EEE-4804-A60A-018A1EB4FEC0}">
      <dgm:prSet/>
      <dgm:spPr/>
      <dgm:t>
        <a:bodyPr/>
        <a:lstStyle/>
        <a:p>
          <a:endParaRPr lang="en-US"/>
        </a:p>
      </dgm:t>
    </dgm:pt>
    <dgm:pt modelId="{0673872A-C2A9-4362-8BBD-9894FA4ADECB}" type="pres">
      <dgm:prSet presAssocID="{2670989C-FFC8-4F18-8F77-DD25000FC885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C2F7193-731F-4144-A9DB-DEFAC91EFBE6}" type="pres">
      <dgm:prSet presAssocID="{6217922D-D326-4223-99C2-338E368D4E24}" presName="linNode" presStyleCnt="0"/>
      <dgm:spPr/>
      <dgm:t>
        <a:bodyPr/>
        <a:lstStyle/>
        <a:p>
          <a:endParaRPr lang="en-US"/>
        </a:p>
      </dgm:t>
    </dgm:pt>
    <dgm:pt modelId="{0085B675-6B34-45F6-8FD3-CED4CE111F03}" type="pres">
      <dgm:prSet presAssocID="{6217922D-D326-4223-99C2-338E368D4E24}" presName="parentText" presStyleLbl="node1" presStyleIdx="0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D73AF32-DC4B-43B4-8AD1-1412CA27BCC0}" type="pres">
      <dgm:prSet presAssocID="{6217922D-D326-4223-99C2-338E368D4E24}" presName="descendantText" presStyleLbl="alignAccFollow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644E67D-D1B5-455A-94E3-FA81222D7ABA}" type="pres">
      <dgm:prSet presAssocID="{7E0395BF-FCAE-42E0-B21A-DBF177726F1F}" presName="sp" presStyleCnt="0"/>
      <dgm:spPr/>
      <dgm:t>
        <a:bodyPr/>
        <a:lstStyle/>
        <a:p>
          <a:endParaRPr lang="en-US"/>
        </a:p>
      </dgm:t>
    </dgm:pt>
    <dgm:pt modelId="{132FD004-C237-4768-B84B-84005F157E89}" type="pres">
      <dgm:prSet presAssocID="{5E59F54A-0C4A-40CC-ADCC-63C7A8448542}" presName="linNode" presStyleCnt="0"/>
      <dgm:spPr/>
      <dgm:t>
        <a:bodyPr/>
        <a:lstStyle/>
        <a:p>
          <a:endParaRPr lang="en-US"/>
        </a:p>
      </dgm:t>
    </dgm:pt>
    <dgm:pt modelId="{24BDDF1E-C104-4A50-B501-043A3EA370C8}" type="pres">
      <dgm:prSet presAssocID="{5E59F54A-0C4A-40CC-ADCC-63C7A8448542}" presName="parentText" presStyleLbl="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335E360-FE0A-44C1-BE09-CA95308C35F1}" type="pres">
      <dgm:prSet presAssocID="{5E59F54A-0C4A-40CC-ADCC-63C7A8448542}" presName="descendantText" presStyleLbl="alignAccFollow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33F995-62F4-498A-A225-9170EFD6A513}" type="pres">
      <dgm:prSet presAssocID="{DBAF6082-F1C4-4BFF-ACA4-E0F397FE8BC4}" presName="sp" presStyleCnt="0"/>
      <dgm:spPr/>
      <dgm:t>
        <a:bodyPr/>
        <a:lstStyle/>
        <a:p>
          <a:endParaRPr lang="en-US"/>
        </a:p>
      </dgm:t>
    </dgm:pt>
    <dgm:pt modelId="{C542D1C6-4D8C-4A87-ABB6-AA93915FCE7A}" type="pres">
      <dgm:prSet presAssocID="{182582FE-272F-428D-B592-555FA4F38ECA}" presName="linNode" presStyleCnt="0"/>
      <dgm:spPr/>
      <dgm:t>
        <a:bodyPr/>
        <a:lstStyle/>
        <a:p>
          <a:endParaRPr lang="en-US"/>
        </a:p>
      </dgm:t>
    </dgm:pt>
    <dgm:pt modelId="{B7E9C9E4-8F57-4CB5-B4F7-02F9889505E2}" type="pres">
      <dgm:prSet presAssocID="{182582FE-272F-428D-B592-555FA4F38ECA}" presName="parentText" presStyleLbl="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4FEA00B-A393-438D-9CC7-BD19239B02A7}" type="pres">
      <dgm:prSet presAssocID="{182582FE-272F-428D-B592-555FA4F38ECA}" presName="descendantText" presStyleLbl="alignAccFollow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F26D03-7168-447D-A59C-4C641781DFAF}" type="pres">
      <dgm:prSet presAssocID="{59F1CA7E-C0F1-46FB-882E-DB7948F90317}" presName="sp" presStyleCnt="0"/>
      <dgm:spPr/>
      <dgm:t>
        <a:bodyPr/>
        <a:lstStyle/>
        <a:p>
          <a:endParaRPr lang="en-US"/>
        </a:p>
      </dgm:t>
    </dgm:pt>
    <dgm:pt modelId="{63DDECB6-89C9-4CB0-A30F-B701E91A4930}" type="pres">
      <dgm:prSet presAssocID="{E42A6BF4-58D0-4CA1-97D9-21231B1C2B29}" presName="linNode" presStyleCnt="0"/>
      <dgm:spPr/>
      <dgm:t>
        <a:bodyPr/>
        <a:lstStyle/>
        <a:p>
          <a:endParaRPr lang="en-US"/>
        </a:p>
      </dgm:t>
    </dgm:pt>
    <dgm:pt modelId="{22C8CF17-A628-4F6C-AE5E-90D7C8C7A31E}" type="pres">
      <dgm:prSet presAssocID="{E42A6BF4-58D0-4CA1-97D9-21231B1C2B29}" presName="parentText" presStyleLbl="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112BB2-9CB8-4656-9A0C-F0F26C0073C6}" type="pres">
      <dgm:prSet presAssocID="{E42A6BF4-58D0-4CA1-97D9-21231B1C2B29}" presName="descendantText" presStyleLbl="alignAccFollow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28B5DD4-7328-4319-8408-6B1A6A36454B}" type="pres">
      <dgm:prSet presAssocID="{2E132F9E-D9A1-4CC4-A101-6B8DCB024BB6}" presName="sp" presStyleCnt="0"/>
      <dgm:spPr/>
      <dgm:t>
        <a:bodyPr/>
        <a:lstStyle/>
        <a:p>
          <a:endParaRPr lang="en-US"/>
        </a:p>
      </dgm:t>
    </dgm:pt>
    <dgm:pt modelId="{125AB6EF-05C7-4BD9-BBA5-F5B34EAB471E}" type="pres">
      <dgm:prSet presAssocID="{325AD362-120D-4DE5-8951-BFBF4775B4F3}" presName="linNode" presStyleCnt="0"/>
      <dgm:spPr/>
      <dgm:t>
        <a:bodyPr/>
        <a:lstStyle/>
        <a:p>
          <a:endParaRPr lang="en-US"/>
        </a:p>
      </dgm:t>
    </dgm:pt>
    <dgm:pt modelId="{270C650F-2281-4B23-9E1F-A3FDD4A7C188}" type="pres">
      <dgm:prSet presAssocID="{325AD362-120D-4DE5-8951-BFBF4775B4F3}" presName="parentText" presStyleLbl="node1" presStyleIdx="4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6F4BC0A-0BEE-48E6-8151-9FF581BB1578}" type="pres">
      <dgm:prSet presAssocID="{325AD362-120D-4DE5-8951-BFBF4775B4F3}" presName="descendantText" presStyleLbl="alignAccFollow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1EF5ADC-5359-4D12-8263-AE9624EB587C}" type="pres">
      <dgm:prSet presAssocID="{9071D1CF-8C54-4C6D-9DFD-5B1F3E681A6B}" presName="sp" presStyleCnt="0"/>
      <dgm:spPr/>
      <dgm:t>
        <a:bodyPr/>
        <a:lstStyle/>
        <a:p>
          <a:endParaRPr lang="en-US"/>
        </a:p>
      </dgm:t>
    </dgm:pt>
    <dgm:pt modelId="{885CF544-CDE5-498C-B25F-1C6531C61DD6}" type="pres">
      <dgm:prSet presAssocID="{FD1CCAA3-3A2F-473D-AF0F-0C8DA6CE764E}" presName="linNode" presStyleCnt="0"/>
      <dgm:spPr/>
      <dgm:t>
        <a:bodyPr/>
        <a:lstStyle/>
        <a:p>
          <a:endParaRPr lang="en-US"/>
        </a:p>
      </dgm:t>
    </dgm:pt>
    <dgm:pt modelId="{6B1B07BE-9512-4512-8161-3FB9886361FB}" type="pres">
      <dgm:prSet presAssocID="{FD1CCAA3-3A2F-473D-AF0F-0C8DA6CE764E}" presName="parentText" presStyleLbl="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2CCF3C-B140-410A-9060-42334FA944C1}" type="pres">
      <dgm:prSet presAssocID="{FD1CCAA3-3A2F-473D-AF0F-0C8DA6CE764E}" presName="descendantText" presStyleLbl="alignAccFollow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FFB951C-F318-409A-BFA5-6E99A7FD5EC9}" type="presOf" srcId="{2670989C-FFC8-4F18-8F77-DD25000FC885}" destId="{0673872A-C2A9-4362-8BBD-9894FA4ADECB}" srcOrd="0" destOrd="0" presId="urn:microsoft.com/office/officeart/2005/8/layout/vList5"/>
    <dgm:cxn modelId="{073CFE3D-12FB-4A33-9805-F6C32588CEDF}" type="presOf" srcId="{E42A6BF4-58D0-4CA1-97D9-21231B1C2B29}" destId="{22C8CF17-A628-4F6C-AE5E-90D7C8C7A31E}" srcOrd="0" destOrd="0" presId="urn:microsoft.com/office/officeart/2005/8/layout/vList5"/>
    <dgm:cxn modelId="{917A6D00-0D62-4312-B249-F81449A7C7C7}" type="presOf" srcId="{D265FDF5-B10D-4F30-A87D-B8CBE7F41396}" destId="{14FEA00B-A393-438D-9CC7-BD19239B02A7}" srcOrd="0" destOrd="1" presId="urn:microsoft.com/office/officeart/2005/8/layout/vList5"/>
    <dgm:cxn modelId="{2C8A0DB2-DE98-4A61-AFB5-19A23680A96D}" srcId="{2670989C-FFC8-4F18-8F77-DD25000FC885}" destId="{5E59F54A-0C4A-40CC-ADCC-63C7A8448542}" srcOrd="1" destOrd="0" parTransId="{B42CBCF0-68D9-47D2-BFEA-B03E2F844853}" sibTransId="{DBAF6082-F1C4-4BFF-ACA4-E0F397FE8BC4}"/>
    <dgm:cxn modelId="{DBFF8589-3D5D-414C-8C9D-E9C916C2CF2E}" type="presOf" srcId="{13252CA0-E1C8-46C9-9F65-40528254384C}" destId="{14FEA00B-A393-438D-9CC7-BD19239B02A7}" srcOrd="0" destOrd="0" presId="urn:microsoft.com/office/officeart/2005/8/layout/vList5"/>
    <dgm:cxn modelId="{0D971C47-625C-47F6-8FE7-3ABDB7F9DFE8}" srcId="{2670989C-FFC8-4F18-8F77-DD25000FC885}" destId="{E42A6BF4-58D0-4CA1-97D9-21231B1C2B29}" srcOrd="3" destOrd="0" parTransId="{E84D908D-7B07-49C1-9375-756D600234E5}" sibTransId="{2E132F9E-D9A1-4CC4-A101-6B8DCB024BB6}"/>
    <dgm:cxn modelId="{92777245-49AC-473F-B5C2-4E74DBFB6388}" type="presOf" srcId="{692063C2-49EC-486C-B382-F33BAF983987}" destId="{0C112BB2-9CB8-4656-9A0C-F0F26C0073C6}" srcOrd="0" destOrd="0" presId="urn:microsoft.com/office/officeart/2005/8/layout/vList5"/>
    <dgm:cxn modelId="{B2BD7311-7665-472F-97A0-FA60C4F8CF02}" type="presOf" srcId="{6217922D-D326-4223-99C2-338E368D4E24}" destId="{0085B675-6B34-45F6-8FD3-CED4CE111F03}" srcOrd="0" destOrd="0" presId="urn:microsoft.com/office/officeart/2005/8/layout/vList5"/>
    <dgm:cxn modelId="{2A461CFC-EBAB-44F3-9FED-3B056905172E}" type="presOf" srcId="{971BC42F-FE29-4101-B711-500758C5CE41}" destId="{6335E360-FE0A-44C1-BE09-CA95308C35F1}" srcOrd="0" destOrd="0" presId="urn:microsoft.com/office/officeart/2005/8/layout/vList5"/>
    <dgm:cxn modelId="{7DAF941E-7274-4CE1-A9F2-422803BE61F8}" type="presOf" srcId="{325AD362-120D-4DE5-8951-BFBF4775B4F3}" destId="{270C650F-2281-4B23-9E1F-A3FDD4A7C188}" srcOrd="0" destOrd="0" presId="urn:microsoft.com/office/officeart/2005/8/layout/vList5"/>
    <dgm:cxn modelId="{C1E1FE4C-D6DE-4817-A4CF-F3B961D476C5}" type="presOf" srcId="{D25725C0-C090-42F6-A8CB-EDC125C1E61C}" destId="{C6F4BC0A-0BEE-48E6-8151-9FF581BB1578}" srcOrd="0" destOrd="0" presId="urn:microsoft.com/office/officeart/2005/8/layout/vList5"/>
    <dgm:cxn modelId="{EAC4813B-8EEE-4804-A60A-018A1EB4FEC0}" srcId="{2670989C-FFC8-4F18-8F77-DD25000FC885}" destId="{FD1CCAA3-3A2F-473D-AF0F-0C8DA6CE764E}" srcOrd="5" destOrd="0" parTransId="{34292389-3635-478A-8181-ECBBC4EDFF00}" sibTransId="{891001FB-ECF8-4357-A107-478CA0D864A9}"/>
    <dgm:cxn modelId="{DFA30B4B-BBDF-46B5-BF8A-812551E53E80}" type="presOf" srcId="{C4AEEF3B-FEA6-44B1-85B0-74560BB404B2}" destId="{2D2CCF3C-B140-410A-9060-42334FA944C1}" srcOrd="0" destOrd="0" presId="urn:microsoft.com/office/officeart/2005/8/layout/vList5"/>
    <dgm:cxn modelId="{0C28B8DB-5553-40E0-9D94-B303C0E7B6FE}" srcId="{325AD362-120D-4DE5-8951-BFBF4775B4F3}" destId="{D25725C0-C090-42F6-A8CB-EDC125C1E61C}" srcOrd="0" destOrd="0" parTransId="{96ECD44D-E8D2-44DE-90C1-58A379185702}" sibTransId="{3E457071-08C4-44F7-9477-D88A2D7F0329}"/>
    <dgm:cxn modelId="{D0E6E6DC-B397-4314-856B-07FF4697B740}" srcId="{FD1CCAA3-3A2F-473D-AF0F-0C8DA6CE764E}" destId="{C4AEEF3B-FEA6-44B1-85B0-74560BB404B2}" srcOrd="0" destOrd="0" parTransId="{CE4AF94E-9208-4F6D-A5F8-37ECE1296EF5}" sibTransId="{C56535EF-B012-4D07-9B7F-AF40B56C0A7F}"/>
    <dgm:cxn modelId="{3E60F52E-5BF0-49E0-BE4F-644060F6C047}" srcId="{2670989C-FFC8-4F18-8F77-DD25000FC885}" destId="{6217922D-D326-4223-99C2-338E368D4E24}" srcOrd="0" destOrd="0" parTransId="{BE6C478E-AA04-4FA3-B168-D25D88FABE71}" sibTransId="{7E0395BF-FCAE-42E0-B21A-DBF177726F1F}"/>
    <dgm:cxn modelId="{66EAA9BE-5E1B-478A-8C11-F32933151D5B}" type="presOf" srcId="{423B93CC-0E9A-4F17-8658-5046F32A205C}" destId="{6D73AF32-DC4B-43B4-8AD1-1412CA27BCC0}" srcOrd="0" destOrd="0" presId="urn:microsoft.com/office/officeart/2005/8/layout/vList5"/>
    <dgm:cxn modelId="{6C7BDFAF-B9AF-4BA3-9327-21B589E68D81}" type="presOf" srcId="{5E59F54A-0C4A-40CC-ADCC-63C7A8448542}" destId="{24BDDF1E-C104-4A50-B501-043A3EA370C8}" srcOrd="0" destOrd="0" presId="urn:microsoft.com/office/officeart/2005/8/layout/vList5"/>
    <dgm:cxn modelId="{C61D6370-ABCD-4D39-9683-FD4FDBD4DA69}" srcId="{5E59F54A-0C4A-40CC-ADCC-63C7A8448542}" destId="{971BC42F-FE29-4101-B711-500758C5CE41}" srcOrd="0" destOrd="0" parTransId="{D99BD447-61D1-4507-9A0E-FE364210D3E9}" sibTransId="{D44C1D77-10E8-4B84-80B3-680C673A70FE}"/>
    <dgm:cxn modelId="{6C55E1B0-84A3-4F6E-BDBE-F94C872710FF}" srcId="{182582FE-272F-428D-B592-555FA4F38ECA}" destId="{D265FDF5-B10D-4F30-A87D-B8CBE7F41396}" srcOrd="1" destOrd="0" parTransId="{57B49BFD-8572-40B4-B828-F5779627E7E4}" sibTransId="{3DCB9D5A-6A1B-42DC-B9FA-21AE3AF0B6A6}"/>
    <dgm:cxn modelId="{8C2A0459-0098-47F4-99DD-4D84CD3C1AE8}" srcId="{182582FE-272F-428D-B592-555FA4F38ECA}" destId="{13252CA0-E1C8-46C9-9F65-40528254384C}" srcOrd="0" destOrd="0" parTransId="{26394C9A-9C64-40C0-98B7-9EEDD605F09C}" sibTransId="{4B1AE569-F60B-4606-AA27-CEFBDF1C9887}"/>
    <dgm:cxn modelId="{C6782C2E-3FB4-4A07-B6DD-84AD0D16809A}" srcId="{2670989C-FFC8-4F18-8F77-DD25000FC885}" destId="{182582FE-272F-428D-B592-555FA4F38ECA}" srcOrd="2" destOrd="0" parTransId="{4204A66D-A251-4F35-85DA-24CBB5898FE2}" sibTransId="{59F1CA7E-C0F1-46FB-882E-DB7948F90317}"/>
    <dgm:cxn modelId="{98A2C00D-0D71-4B5C-8C10-04F4DC2DA904}" srcId="{5E59F54A-0C4A-40CC-ADCC-63C7A8448542}" destId="{0B18CC0D-20D8-4DC4-BDC7-49196E54264F}" srcOrd="1" destOrd="0" parTransId="{2CD141EE-DDDC-486B-8BB4-A3C6AD35DDE0}" sibTransId="{098BA721-04D5-4896-807D-52A03EA42CBC}"/>
    <dgm:cxn modelId="{F29BDC2F-E878-48EA-B6E5-D59876CE6357}" type="presOf" srcId="{FD1CCAA3-3A2F-473D-AF0F-0C8DA6CE764E}" destId="{6B1B07BE-9512-4512-8161-3FB9886361FB}" srcOrd="0" destOrd="0" presId="urn:microsoft.com/office/officeart/2005/8/layout/vList5"/>
    <dgm:cxn modelId="{6CB6F1F8-7A5F-4E7D-9DD8-A7816A628940}" srcId="{2670989C-FFC8-4F18-8F77-DD25000FC885}" destId="{325AD362-120D-4DE5-8951-BFBF4775B4F3}" srcOrd="4" destOrd="0" parTransId="{71F950BF-F862-477D-9BC4-365BCD446136}" sibTransId="{9071D1CF-8C54-4C6D-9DFD-5B1F3E681A6B}"/>
    <dgm:cxn modelId="{0B40E8A9-784F-42AA-AD5C-91B349BD2CFE}" type="presOf" srcId="{0B18CC0D-20D8-4DC4-BDC7-49196E54264F}" destId="{6335E360-FE0A-44C1-BE09-CA95308C35F1}" srcOrd="0" destOrd="1" presId="urn:microsoft.com/office/officeart/2005/8/layout/vList5"/>
    <dgm:cxn modelId="{CDA0DDD8-F7EF-4D48-94E9-39B00A5BB581}" srcId="{E42A6BF4-58D0-4CA1-97D9-21231B1C2B29}" destId="{692063C2-49EC-486C-B382-F33BAF983987}" srcOrd="0" destOrd="0" parTransId="{FCD3BC3E-F97A-41AB-B649-211F8F5AB53D}" sibTransId="{257E9B37-3E94-456D-96DC-93EAD6BC7510}"/>
    <dgm:cxn modelId="{27735B13-087F-40CC-B032-1B0E2EF62949}" srcId="{6217922D-D326-4223-99C2-338E368D4E24}" destId="{423B93CC-0E9A-4F17-8658-5046F32A205C}" srcOrd="0" destOrd="0" parTransId="{6A314958-96C8-4A81-A9AD-E2FD7C468184}" sibTransId="{6A956385-39F4-4F6C-9A32-5BE99FA6207C}"/>
    <dgm:cxn modelId="{AF451BBE-CFED-4F47-AB64-5FAEC388C32E}" type="presOf" srcId="{182582FE-272F-428D-B592-555FA4F38ECA}" destId="{B7E9C9E4-8F57-4CB5-B4F7-02F9889505E2}" srcOrd="0" destOrd="0" presId="urn:microsoft.com/office/officeart/2005/8/layout/vList5"/>
    <dgm:cxn modelId="{DB3048D0-ED96-42FF-90EA-8736DBE998CE}" type="presParOf" srcId="{0673872A-C2A9-4362-8BBD-9894FA4ADECB}" destId="{1C2F7193-731F-4144-A9DB-DEFAC91EFBE6}" srcOrd="0" destOrd="0" presId="urn:microsoft.com/office/officeart/2005/8/layout/vList5"/>
    <dgm:cxn modelId="{7EFFBB7A-6816-4331-9348-F196E699C534}" type="presParOf" srcId="{1C2F7193-731F-4144-A9DB-DEFAC91EFBE6}" destId="{0085B675-6B34-45F6-8FD3-CED4CE111F03}" srcOrd="0" destOrd="0" presId="urn:microsoft.com/office/officeart/2005/8/layout/vList5"/>
    <dgm:cxn modelId="{AF153BD2-E2CC-4F65-A53D-4D85992181F5}" type="presParOf" srcId="{1C2F7193-731F-4144-A9DB-DEFAC91EFBE6}" destId="{6D73AF32-DC4B-43B4-8AD1-1412CA27BCC0}" srcOrd="1" destOrd="0" presId="urn:microsoft.com/office/officeart/2005/8/layout/vList5"/>
    <dgm:cxn modelId="{9000248F-D372-479C-AB03-5415D744C640}" type="presParOf" srcId="{0673872A-C2A9-4362-8BBD-9894FA4ADECB}" destId="{B644E67D-D1B5-455A-94E3-FA81222D7ABA}" srcOrd="1" destOrd="0" presId="urn:microsoft.com/office/officeart/2005/8/layout/vList5"/>
    <dgm:cxn modelId="{D619DB6C-C098-4BC3-9A93-3353EDE71007}" type="presParOf" srcId="{0673872A-C2A9-4362-8BBD-9894FA4ADECB}" destId="{132FD004-C237-4768-B84B-84005F157E89}" srcOrd="2" destOrd="0" presId="urn:microsoft.com/office/officeart/2005/8/layout/vList5"/>
    <dgm:cxn modelId="{0E158D10-2E6C-46A6-AE65-689F3D7647DA}" type="presParOf" srcId="{132FD004-C237-4768-B84B-84005F157E89}" destId="{24BDDF1E-C104-4A50-B501-043A3EA370C8}" srcOrd="0" destOrd="0" presId="urn:microsoft.com/office/officeart/2005/8/layout/vList5"/>
    <dgm:cxn modelId="{E5FC842C-E436-4DAB-8DFB-0E0320A57C87}" type="presParOf" srcId="{132FD004-C237-4768-B84B-84005F157E89}" destId="{6335E360-FE0A-44C1-BE09-CA95308C35F1}" srcOrd="1" destOrd="0" presId="urn:microsoft.com/office/officeart/2005/8/layout/vList5"/>
    <dgm:cxn modelId="{1FF66403-36BB-4CA2-84F7-84697EEA2CC5}" type="presParOf" srcId="{0673872A-C2A9-4362-8BBD-9894FA4ADECB}" destId="{4633F995-62F4-498A-A225-9170EFD6A513}" srcOrd="3" destOrd="0" presId="urn:microsoft.com/office/officeart/2005/8/layout/vList5"/>
    <dgm:cxn modelId="{7EE51027-90F5-411D-A290-FD5EBB18B61F}" type="presParOf" srcId="{0673872A-C2A9-4362-8BBD-9894FA4ADECB}" destId="{C542D1C6-4D8C-4A87-ABB6-AA93915FCE7A}" srcOrd="4" destOrd="0" presId="urn:microsoft.com/office/officeart/2005/8/layout/vList5"/>
    <dgm:cxn modelId="{E2043C39-7417-4216-99A8-CF55735BB22A}" type="presParOf" srcId="{C542D1C6-4D8C-4A87-ABB6-AA93915FCE7A}" destId="{B7E9C9E4-8F57-4CB5-B4F7-02F9889505E2}" srcOrd="0" destOrd="0" presId="urn:microsoft.com/office/officeart/2005/8/layout/vList5"/>
    <dgm:cxn modelId="{DFF1675F-A53F-41CF-B3A8-E603A1FC90B0}" type="presParOf" srcId="{C542D1C6-4D8C-4A87-ABB6-AA93915FCE7A}" destId="{14FEA00B-A393-438D-9CC7-BD19239B02A7}" srcOrd="1" destOrd="0" presId="urn:microsoft.com/office/officeart/2005/8/layout/vList5"/>
    <dgm:cxn modelId="{8B73FE6D-2157-48F3-A5B4-1E18E151B2D1}" type="presParOf" srcId="{0673872A-C2A9-4362-8BBD-9894FA4ADECB}" destId="{B9F26D03-7168-447D-A59C-4C641781DFAF}" srcOrd="5" destOrd="0" presId="urn:microsoft.com/office/officeart/2005/8/layout/vList5"/>
    <dgm:cxn modelId="{C0C2AFD2-5792-4FA3-B785-9C4893277B28}" type="presParOf" srcId="{0673872A-C2A9-4362-8BBD-9894FA4ADECB}" destId="{63DDECB6-89C9-4CB0-A30F-B701E91A4930}" srcOrd="6" destOrd="0" presId="urn:microsoft.com/office/officeart/2005/8/layout/vList5"/>
    <dgm:cxn modelId="{FB3D6513-7DB8-49BF-AD23-C4F9A9638D30}" type="presParOf" srcId="{63DDECB6-89C9-4CB0-A30F-B701E91A4930}" destId="{22C8CF17-A628-4F6C-AE5E-90D7C8C7A31E}" srcOrd="0" destOrd="0" presId="urn:microsoft.com/office/officeart/2005/8/layout/vList5"/>
    <dgm:cxn modelId="{213FD331-F348-4289-A497-92D622FBBBF0}" type="presParOf" srcId="{63DDECB6-89C9-4CB0-A30F-B701E91A4930}" destId="{0C112BB2-9CB8-4656-9A0C-F0F26C0073C6}" srcOrd="1" destOrd="0" presId="urn:microsoft.com/office/officeart/2005/8/layout/vList5"/>
    <dgm:cxn modelId="{BEEF953C-9383-49C5-B86D-91736C76C11C}" type="presParOf" srcId="{0673872A-C2A9-4362-8BBD-9894FA4ADECB}" destId="{628B5DD4-7328-4319-8408-6B1A6A36454B}" srcOrd="7" destOrd="0" presId="urn:microsoft.com/office/officeart/2005/8/layout/vList5"/>
    <dgm:cxn modelId="{AD29A228-F1DF-4B1F-9AAF-ABCE82B92D72}" type="presParOf" srcId="{0673872A-C2A9-4362-8BBD-9894FA4ADECB}" destId="{125AB6EF-05C7-4BD9-BBA5-F5B34EAB471E}" srcOrd="8" destOrd="0" presId="urn:microsoft.com/office/officeart/2005/8/layout/vList5"/>
    <dgm:cxn modelId="{72104A8B-B7B6-4AA8-AEF7-E1972025F65C}" type="presParOf" srcId="{125AB6EF-05C7-4BD9-BBA5-F5B34EAB471E}" destId="{270C650F-2281-4B23-9E1F-A3FDD4A7C188}" srcOrd="0" destOrd="0" presId="urn:microsoft.com/office/officeart/2005/8/layout/vList5"/>
    <dgm:cxn modelId="{0B7AE83C-C5AB-4307-846F-89631B16286E}" type="presParOf" srcId="{125AB6EF-05C7-4BD9-BBA5-F5B34EAB471E}" destId="{C6F4BC0A-0BEE-48E6-8151-9FF581BB1578}" srcOrd="1" destOrd="0" presId="urn:microsoft.com/office/officeart/2005/8/layout/vList5"/>
    <dgm:cxn modelId="{EB8CF7EF-9351-4C7C-A0CF-460F9BD589FA}" type="presParOf" srcId="{0673872A-C2A9-4362-8BBD-9894FA4ADECB}" destId="{B1EF5ADC-5359-4D12-8263-AE9624EB587C}" srcOrd="9" destOrd="0" presId="urn:microsoft.com/office/officeart/2005/8/layout/vList5"/>
    <dgm:cxn modelId="{EBFB5F2B-83F8-4991-ACC5-B5D9CC969A41}" type="presParOf" srcId="{0673872A-C2A9-4362-8BBD-9894FA4ADECB}" destId="{885CF544-CDE5-498C-B25F-1C6531C61DD6}" srcOrd="10" destOrd="0" presId="urn:microsoft.com/office/officeart/2005/8/layout/vList5"/>
    <dgm:cxn modelId="{F95CA46D-7064-4B9B-9709-56788182021C}" type="presParOf" srcId="{885CF544-CDE5-498C-B25F-1C6531C61DD6}" destId="{6B1B07BE-9512-4512-8161-3FB9886361FB}" srcOrd="0" destOrd="0" presId="urn:microsoft.com/office/officeart/2005/8/layout/vList5"/>
    <dgm:cxn modelId="{319D2E36-1A9E-422F-A866-DE5B85F77A63}" type="presParOf" srcId="{885CF544-CDE5-498C-B25F-1C6531C61DD6}" destId="{2D2CCF3C-B140-410A-9060-42334FA944C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670989C-FFC8-4F18-8F77-DD25000FC885}" type="doc">
      <dgm:prSet loTypeId="urn:microsoft.com/office/officeart/2005/8/layout/vList5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6217922D-D326-4223-99C2-338E368D4E24}">
      <dgm:prSet phldrT="[Text]"/>
      <dgm:spPr/>
      <dgm:t>
        <a:bodyPr/>
        <a:lstStyle/>
        <a:p>
          <a:pPr algn="l"/>
          <a:r>
            <a:rPr lang="en-US" dirty="0" err="1" smtClean="0"/>
            <a:t>Contrato</a:t>
          </a:r>
          <a:r>
            <a:rPr lang="en-US" dirty="0" smtClean="0"/>
            <a:t> </a:t>
          </a:r>
          <a:r>
            <a:rPr lang="en-US" dirty="0" err="1" smtClean="0"/>
            <a:t>Mãe</a:t>
          </a:r>
          <a:endParaRPr lang="en-US" dirty="0"/>
        </a:p>
      </dgm:t>
    </dgm:pt>
    <dgm:pt modelId="{BE6C478E-AA04-4FA3-B168-D25D88FABE71}" type="parTrans" cxnId="{3E60F52E-5BF0-49E0-BE4F-644060F6C047}">
      <dgm:prSet/>
      <dgm:spPr/>
      <dgm:t>
        <a:bodyPr/>
        <a:lstStyle/>
        <a:p>
          <a:endParaRPr lang="en-US"/>
        </a:p>
      </dgm:t>
    </dgm:pt>
    <dgm:pt modelId="{7E0395BF-FCAE-42E0-B21A-DBF177726F1F}" type="sibTrans" cxnId="{3E60F52E-5BF0-49E0-BE4F-644060F6C047}">
      <dgm:prSet/>
      <dgm:spPr/>
      <dgm:t>
        <a:bodyPr/>
        <a:lstStyle/>
        <a:p>
          <a:endParaRPr lang="en-US"/>
        </a:p>
      </dgm:t>
    </dgm:pt>
    <dgm:pt modelId="{423B93CC-0E9A-4F17-8658-5046F32A205C}">
      <dgm:prSet phldrT="[Text]"/>
      <dgm:spPr/>
      <dgm:t>
        <a:bodyPr/>
        <a:lstStyle/>
        <a:p>
          <a:pPr algn="just"/>
          <a:r>
            <a:rPr lang="en-US" dirty="0" err="1" smtClean="0"/>
            <a:t>Esta</a:t>
          </a:r>
          <a:r>
            <a:rPr lang="en-US" dirty="0" smtClean="0"/>
            <a:t> </a:t>
          </a:r>
          <a:r>
            <a:rPr lang="en-US" dirty="0" err="1" smtClean="0"/>
            <a:t>minuta</a:t>
          </a:r>
          <a:r>
            <a:rPr lang="en-US" dirty="0" smtClean="0"/>
            <a:t> </a:t>
          </a:r>
          <a:r>
            <a:rPr lang="en-US" dirty="0" err="1" smtClean="0"/>
            <a:t>continuará</a:t>
          </a:r>
          <a:r>
            <a:rPr lang="en-US" dirty="0" smtClean="0"/>
            <a:t> </a:t>
          </a:r>
          <a:r>
            <a:rPr lang="en-US" dirty="0" err="1" smtClean="0"/>
            <a:t>existindo</a:t>
          </a:r>
          <a:r>
            <a:rPr lang="en-US" dirty="0" smtClean="0"/>
            <a:t>? As </a:t>
          </a:r>
          <a:r>
            <a:rPr lang="en-US" dirty="0" err="1" smtClean="0"/>
            <a:t>minutas</a:t>
          </a:r>
          <a:r>
            <a:rPr lang="en-US" dirty="0" smtClean="0"/>
            <a:t> de </a:t>
          </a:r>
          <a:r>
            <a:rPr lang="en-US" dirty="0" err="1" smtClean="0"/>
            <a:t>descarte</a:t>
          </a:r>
          <a:r>
            <a:rPr lang="en-US" dirty="0" smtClean="0"/>
            <a:t> </a:t>
          </a:r>
          <a:r>
            <a:rPr lang="en-US" dirty="0" err="1" smtClean="0"/>
            <a:t>precisam</a:t>
          </a:r>
          <a:r>
            <a:rPr lang="en-US" dirty="0" smtClean="0"/>
            <a:t> </a:t>
          </a:r>
          <a:r>
            <a:rPr lang="en-US" dirty="0" err="1" smtClean="0"/>
            <a:t>continuar</a:t>
          </a:r>
          <a:r>
            <a:rPr lang="en-US" dirty="0" smtClean="0"/>
            <a:t> </a:t>
          </a:r>
          <a:r>
            <a:rPr lang="en-US" dirty="0" err="1" smtClean="0"/>
            <a:t>existindo</a:t>
          </a:r>
          <a:r>
            <a:rPr lang="en-US" dirty="0" smtClean="0"/>
            <a:t>?</a:t>
          </a:r>
          <a:endParaRPr lang="en-US" dirty="0"/>
        </a:p>
      </dgm:t>
    </dgm:pt>
    <dgm:pt modelId="{6A314958-96C8-4A81-A9AD-E2FD7C468184}" type="parTrans" cxnId="{27735B13-087F-40CC-B032-1B0E2EF62949}">
      <dgm:prSet/>
      <dgm:spPr/>
      <dgm:t>
        <a:bodyPr/>
        <a:lstStyle/>
        <a:p>
          <a:endParaRPr lang="en-US"/>
        </a:p>
      </dgm:t>
    </dgm:pt>
    <dgm:pt modelId="{6A956385-39F4-4F6C-9A32-5BE99FA6207C}" type="sibTrans" cxnId="{27735B13-087F-40CC-B032-1B0E2EF62949}">
      <dgm:prSet/>
      <dgm:spPr/>
      <dgm:t>
        <a:bodyPr/>
        <a:lstStyle/>
        <a:p>
          <a:endParaRPr lang="en-US"/>
        </a:p>
      </dgm:t>
    </dgm:pt>
    <dgm:pt modelId="{5E59F54A-0C4A-40CC-ADCC-63C7A8448542}">
      <dgm:prSet phldrT="[Text]"/>
      <dgm:spPr/>
      <dgm:t>
        <a:bodyPr/>
        <a:lstStyle/>
        <a:p>
          <a:pPr algn="l"/>
          <a:r>
            <a:rPr lang="en-US" dirty="0" smtClean="0"/>
            <a:t>Contato Base</a:t>
          </a:r>
          <a:endParaRPr lang="en-US" dirty="0"/>
        </a:p>
      </dgm:t>
    </dgm:pt>
    <dgm:pt modelId="{B42CBCF0-68D9-47D2-BFEA-B03E2F844853}" type="parTrans" cxnId="{2C8A0DB2-DE98-4A61-AFB5-19A23680A96D}">
      <dgm:prSet/>
      <dgm:spPr/>
      <dgm:t>
        <a:bodyPr/>
        <a:lstStyle/>
        <a:p>
          <a:endParaRPr lang="en-US"/>
        </a:p>
      </dgm:t>
    </dgm:pt>
    <dgm:pt modelId="{DBAF6082-F1C4-4BFF-ACA4-E0F397FE8BC4}" type="sibTrans" cxnId="{2C8A0DB2-DE98-4A61-AFB5-19A23680A96D}">
      <dgm:prSet/>
      <dgm:spPr/>
      <dgm:t>
        <a:bodyPr/>
        <a:lstStyle/>
        <a:p>
          <a:endParaRPr lang="en-US"/>
        </a:p>
      </dgm:t>
    </dgm:pt>
    <dgm:pt modelId="{971BC42F-FE29-4101-B711-500758C5CE41}">
      <dgm:prSet phldrT="[Text]"/>
      <dgm:spPr/>
      <dgm:t>
        <a:bodyPr/>
        <a:lstStyle/>
        <a:p>
          <a:pPr algn="just"/>
          <a:r>
            <a:rPr lang="en-US" dirty="0" smtClean="0"/>
            <a:t>Este </a:t>
          </a:r>
          <a:r>
            <a:rPr lang="en-US" dirty="0" err="1" smtClean="0"/>
            <a:t>será</a:t>
          </a:r>
          <a:r>
            <a:rPr lang="en-US" dirty="0" smtClean="0"/>
            <a:t> o </a:t>
          </a:r>
          <a:r>
            <a:rPr lang="en-US" dirty="0" err="1" smtClean="0"/>
            <a:t>único</a:t>
          </a:r>
          <a:r>
            <a:rPr lang="en-US" dirty="0" smtClean="0"/>
            <a:t> </a:t>
          </a:r>
          <a:r>
            <a:rPr lang="en-US" dirty="0" err="1" smtClean="0"/>
            <a:t>contrato</a:t>
          </a:r>
          <a:r>
            <a:rPr lang="en-US" dirty="0" smtClean="0"/>
            <a:t> </a:t>
          </a:r>
          <a:r>
            <a:rPr lang="en-US" dirty="0" err="1" smtClean="0"/>
            <a:t>gerado</a:t>
          </a:r>
          <a:r>
            <a:rPr lang="en-US" dirty="0" smtClean="0"/>
            <a:t> </a:t>
          </a:r>
          <a:r>
            <a:rPr lang="en-US" dirty="0" err="1" smtClean="0"/>
            <a:t>para</a:t>
          </a:r>
          <a:r>
            <a:rPr lang="en-US" dirty="0" smtClean="0"/>
            <a:t> a </a:t>
          </a:r>
          <a:r>
            <a:rPr lang="en-US" dirty="0" err="1" smtClean="0"/>
            <a:t>contratação</a:t>
          </a:r>
          <a:r>
            <a:rPr lang="en-US" dirty="0" smtClean="0"/>
            <a:t> de </a:t>
          </a:r>
          <a:r>
            <a:rPr lang="en-US" dirty="0" err="1" smtClean="0"/>
            <a:t>área</a:t>
          </a:r>
          <a:r>
            <a:rPr lang="en-US" dirty="0" smtClean="0"/>
            <a:t>, </a:t>
          </a:r>
          <a:r>
            <a:rPr lang="en-US" dirty="0" err="1" smtClean="0"/>
            <a:t>ele</a:t>
          </a:r>
          <a:r>
            <a:rPr lang="en-US" dirty="0" smtClean="0"/>
            <a:t> </a:t>
          </a:r>
          <a:r>
            <a:rPr lang="en-US" dirty="0" err="1" smtClean="0"/>
            <a:t>será</a:t>
          </a:r>
          <a:r>
            <a:rPr lang="en-US" dirty="0" smtClean="0"/>
            <a:t> </a:t>
          </a:r>
          <a:r>
            <a:rPr lang="en-US" dirty="0" err="1" smtClean="0"/>
            <a:t>unico</a:t>
          </a:r>
          <a:r>
            <a:rPr lang="en-US" dirty="0" smtClean="0"/>
            <a:t> </a:t>
          </a:r>
          <a:r>
            <a:rPr lang="en-US" dirty="0" err="1" smtClean="0"/>
            <a:t>para</a:t>
          </a:r>
          <a:r>
            <a:rPr lang="en-US" dirty="0" smtClean="0"/>
            <a:t> </a:t>
          </a:r>
          <a:r>
            <a:rPr lang="en-US" dirty="0" err="1" smtClean="0"/>
            <a:t>todas</a:t>
          </a:r>
          <a:r>
            <a:rPr lang="en-US" dirty="0" smtClean="0"/>
            <a:t> as </a:t>
          </a:r>
          <a:r>
            <a:rPr lang="en-US" dirty="0" err="1" smtClean="0"/>
            <a:t>unidades</a:t>
          </a:r>
          <a:r>
            <a:rPr lang="en-US" dirty="0" smtClean="0"/>
            <a:t>? </a:t>
          </a:r>
          <a:r>
            <a:rPr lang="en-US" dirty="0" err="1" smtClean="0"/>
            <a:t>Talvez</a:t>
          </a:r>
          <a:r>
            <a:rPr lang="en-US" dirty="0" smtClean="0"/>
            <a:t> </a:t>
          </a:r>
          <a:r>
            <a:rPr lang="en-US" dirty="0" err="1" smtClean="0"/>
            <a:t>algumas</a:t>
          </a:r>
          <a:r>
            <a:rPr lang="en-US" dirty="0" smtClean="0"/>
            <a:t> </a:t>
          </a:r>
          <a:r>
            <a:rPr lang="en-US" dirty="0" err="1" smtClean="0"/>
            <a:t>especificidades</a:t>
          </a:r>
          <a:r>
            <a:rPr lang="en-US" dirty="0" smtClean="0"/>
            <a:t> entre </a:t>
          </a:r>
          <a:r>
            <a:rPr lang="en-US" dirty="0" err="1" smtClean="0"/>
            <a:t>unidades</a:t>
          </a:r>
          <a:r>
            <a:rPr lang="en-US" dirty="0" smtClean="0"/>
            <a:t> </a:t>
          </a:r>
          <a:r>
            <a:rPr lang="en-US" dirty="0" err="1" smtClean="0"/>
            <a:t>dificulte</a:t>
          </a:r>
          <a:r>
            <a:rPr lang="en-US" dirty="0" smtClean="0"/>
            <a:t> </a:t>
          </a:r>
          <a:r>
            <a:rPr lang="en-US" dirty="0" err="1" smtClean="0"/>
            <a:t>isto</a:t>
          </a:r>
          <a:r>
            <a:rPr lang="en-US" dirty="0" smtClean="0"/>
            <a:t>, ex: </a:t>
          </a:r>
          <a:r>
            <a:rPr lang="en-US" dirty="0" err="1" smtClean="0"/>
            <a:t>Bonificação</a:t>
          </a:r>
          <a:r>
            <a:rPr lang="en-US" dirty="0" smtClean="0"/>
            <a:t> de </a:t>
          </a:r>
          <a:r>
            <a:rPr lang="en-US" dirty="0" err="1" smtClean="0"/>
            <a:t>Itaí</a:t>
          </a:r>
          <a:r>
            <a:rPr lang="en-US" dirty="0" smtClean="0"/>
            <a:t>, </a:t>
          </a:r>
          <a:r>
            <a:rPr lang="en-US" dirty="0" err="1" smtClean="0"/>
            <a:t>Serviços</a:t>
          </a:r>
          <a:r>
            <a:rPr lang="en-US" dirty="0" smtClean="0"/>
            <a:t> de </a:t>
          </a:r>
          <a:r>
            <a:rPr lang="en-US" dirty="0" err="1" smtClean="0"/>
            <a:t>pulverização</a:t>
          </a:r>
          <a:r>
            <a:rPr lang="en-US" dirty="0" smtClean="0"/>
            <a:t> </a:t>
          </a:r>
          <a:r>
            <a:rPr lang="en-US" dirty="0" err="1" smtClean="0"/>
            <a:t>em</a:t>
          </a:r>
          <a:r>
            <a:rPr lang="en-US" dirty="0" smtClean="0"/>
            <a:t> PTU e IPU, </a:t>
          </a:r>
          <a:r>
            <a:rPr lang="en-US" dirty="0" err="1" smtClean="0"/>
            <a:t>opções</a:t>
          </a:r>
          <a:r>
            <a:rPr lang="en-US" dirty="0" smtClean="0"/>
            <a:t> de </a:t>
          </a:r>
          <a:r>
            <a:rPr lang="en-US" dirty="0" err="1" smtClean="0"/>
            <a:t>contratos</a:t>
          </a:r>
          <a:r>
            <a:rPr lang="en-US" dirty="0" smtClean="0"/>
            <a:t> de CVE, etc.</a:t>
          </a:r>
          <a:endParaRPr lang="en-US" dirty="0"/>
        </a:p>
      </dgm:t>
    </dgm:pt>
    <dgm:pt modelId="{D99BD447-61D1-4507-9A0E-FE364210D3E9}" type="parTrans" cxnId="{C61D6370-ABCD-4D39-9683-FD4FDBD4DA69}">
      <dgm:prSet/>
      <dgm:spPr/>
      <dgm:t>
        <a:bodyPr/>
        <a:lstStyle/>
        <a:p>
          <a:endParaRPr lang="en-US"/>
        </a:p>
      </dgm:t>
    </dgm:pt>
    <dgm:pt modelId="{D44C1D77-10E8-4B84-80B3-680C673A70FE}" type="sibTrans" cxnId="{C61D6370-ABCD-4D39-9683-FD4FDBD4DA69}">
      <dgm:prSet/>
      <dgm:spPr/>
      <dgm:t>
        <a:bodyPr/>
        <a:lstStyle/>
        <a:p>
          <a:endParaRPr lang="en-US"/>
        </a:p>
      </dgm:t>
    </dgm:pt>
    <dgm:pt modelId="{E42A6BF4-58D0-4CA1-97D9-21231B1C2B29}">
      <dgm:prSet phldrT="[Text]"/>
      <dgm:spPr/>
      <dgm:t>
        <a:bodyPr/>
        <a:lstStyle/>
        <a:p>
          <a:pPr algn="l"/>
          <a:r>
            <a:rPr lang="en-US" dirty="0" err="1" smtClean="0"/>
            <a:t>Aditivos</a:t>
          </a:r>
          <a:endParaRPr lang="en-US" dirty="0"/>
        </a:p>
      </dgm:t>
    </dgm:pt>
    <dgm:pt modelId="{E84D908D-7B07-49C1-9375-756D600234E5}" type="parTrans" cxnId="{0D971C47-625C-47F6-8FE7-3ABDB7F9DFE8}">
      <dgm:prSet/>
      <dgm:spPr/>
      <dgm:t>
        <a:bodyPr/>
        <a:lstStyle/>
        <a:p>
          <a:endParaRPr lang="en-US"/>
        </a:p>
      </dgm:t>
    </dgm:pt>
    <dgm:pt modelId="{2E132F9E-D9A1-4CC4-A101-6B8DCB024BB6}" type="sibTrans" cxnId="{0D971C47-625C-47F6-8FE7-3ABDB7F9DFE8}">
      <dgm:prSet/>
      <dgm:spPr/>
      <dgm:t>
        <a:bodyPr/>
        <a:lstStyle/>
        <a:p>
          <a:endParaRPr lang="en-US"/>
        </a:p>
      </dgm:t>
    </dgm:pt>
    <dgm:pt modelId="{325AD362-120D-4DE5-8951-BFBF4775B4F3}">
      <dgm:prSet phldrT="[Text]"/>
      <dgm:spPr/>
      <dgm:t>
        <a:bodyPr/>
        <a:lstStyle/>
        <a:p>
          <a:pPr algn="l"/>
          <a:r>
            <a:rPr lang="en-US" dirty="0" err="1" smtClean="0"/>
            <a:t>Carta</a:t>
          </a:r>
          <a:r>
            <a:rPr lang="en-US" dirty="0" smtClean="0"/>
            <a:t> </a:t>
          </a:r>
          <a:r>
            <a:rPr lang="en-US" dirty="0" err="1" smtClean="0"/>
            <a:t>Ágio</a:t>
          </a:r>
          <a:endParaRPr lang="en-US" dirty="0"/>
        </a:p>
      </dgm:t>
    </dgm:pt>
    <dgm:pt modelId="{71F950BF-F862-477D-9BC4-365BCD446136}" type="parTrans" cxnId="{6CB6F1F8-7A5F-4E7D-9DD8-A7816A628940}">
      <dgm:prSet/>
      <dgm:spPr/>
      <dgm:t>
        <a:bodyPr/>
        <a:lstStyle/>
        <a:p>
          <a:endParaRPr lang="en-US"/>
        </a:p>
      </dgm:t>
    </dgm:pt>
    <dgm:pt modelId="{9071D1CF-8C54-4C6D-9DFD-5B1F3E681A6B}" type="sibTrans" cxnId="{6CB6F1F8-7A5F-4E7D-9DD8-A7816A628940}">
      <dgm:prSet/>
      <dgm:spPr/>
      <dgm:t>
        <a:bodyPr/>
        <a:lstStyle/>
        <a:p>
          <a:endParaRPr lang="en-US"/>
        </a:p>
      </dgm:t>
    </dgm:pt>
    <dgm:pt modelId="{692063C2-49EC-486C-B382-F33BAF983987}">
      <dgm:prSet phldrT="[Text]"/>
      <dgm:spPr/>
      <dgm:t>
        <a:bodyPr/>
        <a:lstStyle/>
        <a:p>
          <a:pPr algn="just"/>
          <a:r>
            <a:rPr lang="en-US" dirty="0" smtClean="0"/>
            <a:t>Como </a:t>
          </a:r>
          <a:r>
            <a:rPr lang="en-US" dirty="0" err="1" smtClean="0"/>
            <a:t>serão</a:t>
          </a:r>
          <a:r>
            <a:rPr lang="en-US" dirty="0" smtClean="0"/>
            <a:t> </a:t>
          </a:r>
          <a:r>
            <a:rPr lang="en-US" dirty="0" err="1" smtClean="0"/>
            <a:t>tratados</a:t>
          </a:r>
          <a:r>
            <a:rPr lang="en-US" dirty="0" smtClean="0"/>
            <a:t> </a:t>
          </a:r>
          <a:r>
            <a:rPr lang="en-US" dirty="0" err="1" smtClean="0"/>
            <a:t>os</a:t>
          </a:r>
          <a:r>
            <a:rPr lang="en-US" dirty="0" smtClean="0"/>
            <a:t> </a:t>
          </a:r>
          <a:r>
            <a:rPr lang="en-US" dirty="0" err="1" smtClean="0"/>
            <a:t>aditivos</a:t>
          </a:r>
          <a:r>
            <a:rPr lang="en-US" dirty="0" smtClean="0"/>
            <a:t> de </a:t>
          </a:r>
          <a:r>
            <a:rPr lang="en-US" dirty="0" err="1" smtClean="0"/>
            <a:t>serviços</a:t>
          </a:r>
          <a:r>
            <a:rPr lang="en-US" dirty="0" smtClean="0"/>
            <a:t>? A </a:t>
          </a:r>
          <a:r>
            <a:rPr lang="en-US" dirty="0" err="1" smtClean="0"/>
            <a:t>Fabiola</a:t>
          </a:r>
          <a:r>
            <a:rPr lang="en-US" dirty="0" smtClean="0"/>
            <a:t> </a:t>
          </a:r>
          <a:r>
            <a:rPr lang="en-US" dirty="0" err="1" smtClean="0"/>
            <a:t>sugeriu</a:t>
          </a:r>
          <a:r>
            <a:rPr lang="en-US" dirty="0" smtClean="0"/>
            <a:t> </a:t>
          </a:r>
          <a:r>
            <a:rPr lang="en-US" dirty="0" err="1" smtClean="0"/>
            <a:t>colocar</a:t>
          </a:r>
          <a:r>
            <a:rPr lang="en-US" dirty="0" smtClean="0"/>
            <a:t> </a:t>
          </a:r>
          <a:r>
            <a:rPr lang="en-US" dirty="0" err="1" smtClean="0"/>
            <a:t>uma</a:t>
          </a:r>
          <a:r>
            <a:rPr lang="en-US" dirty="0" smtClean="0"/>
            <a:t> </a:t>
          </a:r>
          <a:r>
            <a:rPr lang="en-US" dirty="0" err="1" smtClean="0"/>
            <a:t>espécie</a:t>
          </a:r>
          <a:r>
            <a:rPr lang="en-US" dirty="0" smtClean="0"/>
            <a:t> de check box </a:t>
          </a:r>
          <a:r>
            <a:rPr lang="en-US" dirty="0" err="1" smtClean="0"/>
            <a:t>dentro</a:t>
          </a:r>
          <a:r>
            <a:rPr lang="en-US" dirty="0" smtClean="0"/>
            <a:t> do </a:t>
          </a:r>
          <a:r>
            <a:rPr lang="en-US" dirty="0" err="1" smtClean="0"/>
            <a:t>contrato</a:t>
          </a:r>
          <a:r>
            <a:rPr lang="en-US" dirty="0" smtClean="0"/>
            <a:t>. </a:t>
          </a:r>
          <a:endParaRPr lang="en-US" dirty="0"/>
        </a:p>
      </dgm:t>
    </dgm:pt>
    <dgm:pt modelId="{FCD3BC3E-F97A-41AB-B649-211F8F5AB53D}" type="parTrans" cxnId="{CDA0DDD8-F7EF-4D48-94E9-39B00A5BB581}">
      <dgm:prSet/>
      <dgm:spPr/>
      <dgm:t>
        <a:bodyPr/>
        <a:lstStyle/>
        <a:p>
          <a:endParaRPr lang="en-US"/>
        </a:p>
      </dgm:t>
    </dgm:pt>
    <dgm:pt modelId="{257E9B37-3E94-456D-96DC-93EAD6BC7510}" type="sibTrans" cxnId="{CDA0DDD8-F7EF-4D48-94E9-39B00A5BB581}">
      <dgm:prSet/>
      <dgm:spPr/>
      <dgm:t>
        <a:bodyPr/>
        <a:lstStyle/>
        <a:p>
          <a:endParaRPr lang="en-US"/>
        </a:p>
      </dgm:t>
    </dgm:pt>
    <dgm:pt modelId="{D25725C0-C090-42F6-A8CB-EDC125C1E61C}">
      <dgm:prSet phldrT="[Text]"/>
      <dgm:spPr/>
      <dgm:t>
        <a:bodyPr/>
        <a:lstStyle/>
        <a:p>
          <a:pPr algn="just"/>
          <a:r>
            <a:rPr lang="en-US" dirty="0" smtClean="0"/>
            <a:t>A </a:t>
          </a:r>
          <a:r>
            <a:rPr lang="en-US" dirty="0" err="1" smtClean="0"/>
            <a:t>carta</a:t>
          </a:r>
          <a:r>
            <a:rPr lang="en-US" dirty="0" smtClean="0"/>
            <a:t> </a:t>
          </a:r>
          <a:r>
            <a:rPr lang="en-US" dirty="0" err="1" smtClean="0"/>
            <a:t>ágio</a:t>
          </a:r>
          <a:r>
            <a:rPr lang="en-US" dirty="0" smtClean="0"/>
            <a:t> </a:t>
          </a:r>
          <a:r>
            <a:rPr lang="en-US" dirty="0" err="1" smtClean="0"/>
            <a:t>continuará</a:t>
          </a:r>
          <a:r>
            <a:rPr lang="en-US" dirty="0" smtClean="0"/>
            <a:t> </a:t>
          </a:r>
          <a:r>
            <a:rPr lang="en-US" dirty="0" err="1" smtClean="0"/>
            <a:t>existindo</a:t>
          </a:r>
          <a:r>
            <a:rPr lang="en-US" dirty="0" smtClean="0"/>
            <a:t>? </a:t>
          </a:r>
          <a:endParaRPr lang="en-US" dirty="0"/>
        </a:p>
      </dgm:t>
    </dgm:pt>
    <dgm:pt modelId="{96ECD44D-E8D2-44DE-90C1-58A379185702}" type="parTrans" cxnId="{0C28B8DB-5553-40E0-9D94-B303C0E7B6FE}">
      <dgm:prSet/>
      <dgm:spPr/>
      <dgm:t>
        <a:bodyPr/>
        <a:lstStyle/>
        <a:p>
          <a:endParaRPr lang="en-US"/>
        </a:p>
      </dgm:t>
    </dgm:pt>
    <dgm:pt modelId="{3E457071-08C4-44F7-9477-D88A2D7F0329}" type="sibTrans" cxnId="{0C28B8DB-5553-40E0-9D94-B303C0E7B6FE}">
      <dgm:prSet/>
      <dgm:spPr/>
      <dgm:t>
        <a:bodyPr/>
        <a:lstStyle/>
        <a:p>
          <a:endParaRPr lang="en-US"/>
        </a:p>
      </dgm:t>
    </dgm:pt>
    <dgm:pt modelId="{C4AEEF3B-FEA6-44B1-85B0-74560BB404B2}">
      <dgm:prSet phldrT="[Text]"/>
      <dgm:spPr/>
      <dgm:t>
        <a:bodyPr/>
        <a:lstStyle/>
        <a:p>
          <a:pPr algn="just"/>
          <a:r>
            <a:rPr lang="en-US" dirty="0" smtClean="0"/>
            <a:t>Como </a:t>
          </a:r>
          <a:r>
            <a:rPr lang="en-US" dirty="0" err="1" smtClean="0"/>
            <a:t>trataremos</a:t>
          </a:r>
          <a:r>
            <a:rPr lang="en-US" dirty="0" smtClean="0"/>
            <a:t> o </a:t>
          </a:r>
          <a:r>
            <a:rPr lang="en-US" dirty="0" err="1" smtClean="0"/>
            <a:t>evento</a:t>
          </a:r>
          <a:r>
            <a:rPr lang="en-US" dirty="0" smtClean="0"/>
            <a:t> de </a:t>
          </a:r>
          <a:r>
            <a:rPr lang="en-US" dirty="0" err="1" smtClean="0"/>
            <a:t>cessão</a:t>
          </a:r>
          <a:r>
            <a:rPr lang="en-US" dirty="0" smtClean="0"/>
            <a:t> de </a:t>
          </a:r>
          <a:r>
            <a:rPr lang="en-US" dirty="0" err="1" smtClean="0"/>
            <a:t>contratação</a:t>
          </a:r>
          <a:r>
            <a:rPr lang="en-US" dirty="0" smtClean="0"/>
            <a:t> de </a:t>
          </a:r>
          <a:r>
            <a:rPr lang="en-US" dirty="0" err="1" smtClean="0"/>
            <a:t>áreas</a:t>
          </a:r>
          <a:r>
            <a:rPr lang="en-US" dirty="0" smtClean="0"/>
            <a:t>?</a:t>
          </a:r>
          <a:endParaRPr lang="en-US" dirty="0"/>
        </a:p>
      </dgm:t>
    </dgm:pt>
    <dgm:pt modelId="{CE4AF94E-9208-4F6D-A5F8-37ECE1296EF5}" type="parTrans" cxnId="{D0E6E6DC-B397-4314-856B-07FF4697B740}">
      <dgm:prSet/>
      <dgm:spPr/>
      <dgm:t>
        <a:bodyPr/>
        <a:lstStyle/>
        <a:p>
          <a:endParaRPr lang="en-US"/>
        </a:p>
      </dgm:t>
    </dgm:pt>
    <dgm:pt modelId="{C56535EF-B012-4D07-9B7F-AF40B56C0A7F}" type="sibTrans" cxnId="{D0E6E6DC-B397-4314-856B-07FF4697B740}">
      <dgm:prSet/>
      <dgm:spPr/>
      <dgm:t>
        <a:bodyPr/>
        <a:lstStyle/>
        <a:p>
          <a:endParaRPr lang="en-US"/>
        </a:p>
      </dgm:t>
    </dgm:pt>
    <dgm:pt modelId="{FD1CCAA3-3A2F-473D-AF0F-0C8DA6CE764E}">
      <dgm:prSet phldrT="[Text]"/>
      <dgm:spPr/>
      <dgm:t>
        <a:bodyPr/>
        <a:lstStyle/>
        <a:p>
          <a:pPr algn="l"/>
          <a:r>
            <a:rPr lang="en-US" dirty="0" err="1" smtClean="0"/>
            <a:t>Distratos</a:t>
          </a:r>
          <a:endParaRPr lang="en-US" dirty="0"/>
        </a:p>
      </dgm:t>
    </dgm:pt>
    <dgm:pt modelId="{891001FB-ECF8-4357-A107-478CA0D864A9}" type="sibTrans" cxnId="{EAC4813B-8EEE-4804-A60A-018A1EB4FEC0}">
      <dgm:prSet/>
      <dgm:spPr/>
      <dgm:t>
        <a:bodyPr/>
        <a:lstStyle/>
        <a:p>
          <a:endParaRPr lang="en-US"/>
        </a:p>
      </dgm:t>
    </dgm:pt>
    <dgm:pt modelId="{34292389-3635-478A-8181-ECBBC4EDFF00}" type="parTrans" cxnId="{EAC4813B-8EEE-4804-A60A-018A1EB4FEC0}">
      <dgm:prSet/>
      <dgm:spPr/>
      <dgm:t>
        <a:bodyPr/>
        <a:lstStyle/>
        <a:p>
          <a:endParaRPr lang="en-US"/>
        </a:p>
      </dgm:t>
    </dgm:pt>
    <dgm:pt modelId="{51E970E1-5A77-4D17-9AD4-80FB2F65A718}">
      <dgm:prSet phldrT="[Text]"/>
      <dgm:spPr/>
      <dgm:t>
        <a:bodyPr/>
        <a:lstStyle/>
        <a:p>
          <a:pPr algn="just"/>
          <a:r>
            <a:rPr lang="en-US" dirty="0" err="1" smtClean="0"/>
            <a:t>Apenas</a:t>
          </a:r>
          <a:r>
            <a:rPr lang="en-US" dirty="0" smtClean="0"/>
            <a:t> </a:t>
          </a:r>
          <a:r>
            <a:rPr lang="en-US" dirty="0" err="1" smtClean="0"/>
            <a:t>faço</a:t>
          </a:r>
          <a:r>
            <a:rPr lang="en-US" dirty="0" smtClean="0"/>
            <a:t> a </a:t>
          </a:r>
          <a:r>
            <a:rPr lang="en-US" dirty="0" err="1" smtClean="0"/>
            <a:t>observação</a:t>
          </a:r>
          <a:r>
            <a:rPr lang="en-US" dirty="0" smtClean="0"/>
            <a:t> de </a:t>
          </a:r>
          <a:r>
            <a:rPr lang="en-US" dirty="0" err="1" smtClean="0"/>
            <a:t>que</a:t>
          </a:r>
          <a:r>
            <a:rPr lang="en-US" dirty="0" smtClean="0"/>
            <a:t> </a:t>
          </a:r>
          <a:r>
            <a:rPr lang="en-US" dirty="0" err="1" smtClean="0"/>
            <a:t>cada</a:t>
          </a:r>
          <a:r>
            <a:rPr lang="en-US" dirty="0" smtClean="0"/>
            <a:t> site </a:t>
          </a:r>
          <a:r>
            <a:rPr lang="en-US" dirty="0" err="1" smtClean="0"/>
            <a:t>trata</a:t>
          </a:r>
          <a:r>
            <a:rPr lang="en-US" dirty="0" smtClean="0"/>
            <a:t> </a:t>
          </a:r>
          <a:r>
            <a:rPr lang="en-US" dirty="0" err="1" smtClean="0"/>
            <a:t>esta</a:t>
          </a:r>
          <a:r>
            <a:rPr lang="en-US" dirty="0" smtClean="0"/>
            <a:t> </a:t>
          </a:r>
          <a:r>
            <a:rPr lang="en-US" dirty="0" err="1" smtClean="0"/>
            <a:t>questão</a:t>
          </a:r>
          <a:r>
            <a:rPr lang="en-US" dirty="0" smtClean="0"/>
            <a:t> de </a:t>
          </a:r>
          <a:r>
            <a:rPr lang="en-US" dirty="0" err="1" smtClean="0"/>
            <a:t>maneira</a:t>
          </a:r>
          <a:r>
            <a:rPr lang="en-US" dirty="0" smtClean="0"/>
            <a:t> </a:t>
          </a:r>
          <a:r>
            <a:rPr lang="en-US" dirty="0" err="1" smtClean="0"/>
            <a:t>diferente</a:t>
          </a:r>
          <a:r>
            <a:rPr lang="en-US" dirty="0" smtClean="0"/>
            <a:t>, </a:t>
          </a:r>
          <a:r>
            <a:rPr lang="en-US" dirty="0" err="1" smtClean="0"/>
            <a:t>acho</a:t>
          </a:r>
          <a:r>
            <a:rPr lang="en-US" dirty="0" smtClean="0"/>
            <a:t> </a:t>
          </a:r>
          <a:r>
            <a:rPr lang="en-US" dirty="0" err="1" smtClean="0"/>
            <a:t>que</a:t>
          </a:r>
          <a:r>
            <a:rPr lang="en-US" dirty="0" smtClean="0"/>
            <a:t> um </a:t>
          </a:r>
          <a:r>
            <a:rPr lang="en-US" dirty="0" err="1" smtClean="0"/>
            <a:t>mapa</a:t>
          </a:r>
          <a:r>
            <a:rPr lang="en-US" dirty="0" smtClean="0"/>
            <a:t> </a:t>
          </a:r>
          <a:r>
            <a:rPr lang="en-US" dirty="0" err="1" smtClean="0"/>
            <a:t>detalhado</a:t>
          </a:r>
          <a:r>
            <a:rPr lang="en-US" dirty="0" smtClean="0"/>
            <a:t> </a:t>
          </a:r>
          <a:r>
            <a:rPr lang="en-US" dirty="0" err="1" smtClean="0"/>
            <a:t>cabe</a:t>
          </a:r>
          <a:r>
            <a:rPr lang="en-US" dirty="0" smtClean="0"/>
            <a:t> </a:t>
          </a:r>
          <a:r>
            <a:rPr lang="en-US" dirty="0" err="1" smtClean="0"/>
            <a:t>aqui</a:t>
          </a:r>
          <a:r>
            <a:rPr lang="en-US" dirty="0" smtClean="0"/>
            <a:t> antes de </a:t>
          </a:r>
          <a:r>
            <a:rPr lang="en-US" dirty="0" err="1" smtClean="0"/>
            <a:t>uma</a:t>
          </a:r>
          <a:r>
            <a:rPr lang="en-US" dirty="0" smtClean="0"/>
            <a:t> </a:t>
          </a:r>
          <a:r>
            <a:rPr lang="en-US" dirty="0" err="1" smtClean="0"/>
            <a:t>decisão</a:t>
          </a:r>
          <a:endParaRPr lang="en-US" dirty="0"/>
        </a:p>
      </dgm:t>
    </dgm:pt>
    <dgm:pt modelId="{F8DF23D7-C358-4F1C-9903-0B52E078CAD2}" type="parTrans" cxnId="{984EB556-4A2A-4D73-8614-42BF8655FF2E}">
      <dgm:prSet/>
      <dgm:spPr/>
      <dgm:t>
        <a:bodyPr/>
        <a:lstStyle/>
        <a:p>
          <a:endParaRPr lang="en-US"/>
        </a:p>
      </dgm:t>
    </dgm:pt>
    <dgm:pt modelId="{58186783-E486-48F1-912D-FC95A01957B5}" type="sibTrans" cxnId="{984EB556-4A2A-4D73-8614-42BF8655FF2E}">
      <dgm:prSet/>
      <dgm:spPr/>
      <dgm:t>
        <a:bodyPr/>
        <a:lstStyle/>
        <a:p>
          <a:endParaRPr lang="en-US"/>
        </a:p>
      </dgm:t>
    </dgm:pt>
    <dgm:pt modelId="{85DCBE2A-CCA9-42C2-8CBB-DAFFAFC1C29C}">
      <dgm:prSet phldrT="[Text]"/>
      <dgm:spPr/>
      <dgm:t>
        <a:bodyPr/>
        <a:lstStyle/>
        <a:p>
          <a:pPr algn="just"/>
          <a:r>
            <a:rPr lang="en-US" dirty="0" err="1" smtClean="0"/>
            <a:t>Entendo</a:t>
          </a:r>
          <a:r>
            <a:rPr lang="en-US" dirty="0" smtClean="0"/>
            <a:t> </a:t>
          </a:r>
          <a:r>
            <a:rPr lang="en-US" dirty="0" err="1" smtClean="0"/>
            <a:t>que</a:t>
          </a:r>
          <a:r>
            <a:rPr lang="en-US" dirty="0" smtClean="0"/>
            <a:t> </a:t>
          </a:r>
          <a:r>
            <a:rPr lang="en-US" dirty="0" err="1" smtClean="0"/>
            <a:t>sim</a:t>
          </a:r>
          <a:r>
            <a:rPr lang="en-US" dirty="0" smtClean="0"/>
            <a:t>.</a:t>
          </a:r>
          <a:endParaRPr lang="en-US" dirty="0"/>
        </a:p>
      </dgm:t>
    </dgm:pt>
    <dgm:pt modelId="{BF81B504-3B1D-42E9-8A25-93C63BF14CE1}" type="parTrans" cxnId="{D25E5D55-778D-4D9B-A14F-0680D1F081A2}">
      <dgm:prSet/>
      <dgm:spPr/>
      <dgm:t>
        <a:bodyPr/>
        <a:lstStyle/>
        <a:p>
          <a:endParaRPr lang="en-US"/>
        </a:p>
      </dgm:t>
    </dgm:pt>
    <dgm:pt modelId="{A8CAAFD8-98ED-4A64-85A1-5EB8669540B7}" type="sibTrans" cxnId="{D25E5D55-778D-4D9B-A14F-0680D1F081A2}">
      <dgm:prSet/>
      <dgm:spPr/>
      <dgm:t>
        <a:bodyPr/>
        <a:lstStyle/>
        <a:p>
          <a:endParaRPr lang="en-US"/>
        </a:p>
      </dgm:t>
    </dgm:pt>
    <dgm:pt modelId="{0673872A-C2A9-4362-8BBD-9894FA4ADECB}" type="pres">
      <dgm:prSet presAssocID="{2670989C-FFC8-4F18-8F77-DD25000FC885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C2F7193-731F-4144-A9DB-DEFAC91EFBE6}" type="pres">
      <dgm:prSet presAssocID="{6217922D-D326-4223-99C2-338E368D4E24}" presName="linNode" presStyleCnt="0"/>
      <dgm:spPr/>
      <dgm:t>
        <a:bodyPr/>
        <a:lstStyle/>
        <a:p>
          <a:endParaRPr lang="en-US"/>
        </a:p>
      </dgm:t>
    </dgm:pt>
    <dgm:pt modelId="{0085B675-6B34-45F6-8FD3-CED4CE111F03}" type="pres">
      <dgm:prSet presAssocID="{6217922D-D326-4223-99C2-338E368D4E24}" presName="parentText" presStyleLbl="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D73AF32-DC4B-43B4-8AD1-1412CA27BCC0}" type="pres">
      <dgm:prSet presAssocID="{6217922D-D326-4223-99C2-338E368D4E24}" presName="descendantText" presStyleLbl="alignAccFollow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644E67D-D1B5-455A-94E3-FA81222D7ABA}" type="pres">
      <dgm:prSet presAssocID="{7E0395BF-FCAE-42E0-B21A-DBF177726F1F}" presName="sp" presStyleCnt="0"/>
      <dgm:spPr/>
      <dgm:t>
        <a:bodyPr/>
        <a:lstStyle/>
        <a:p>
          <a:endParaRPr lang="en-US"/>
        </a:p>
      </dgm:t>
    </dgm:pt>
    <dgm:pt modelId="{132FD004-C237-4768-B84B-84005F157E89}" type="pres">
      <dgm:prSet presAssocID="{5E59F54A-0C4A-40CC-ADCC-63C7A8448542}" presName="linNode" presStyleCnt="0"/>
      <dgm:spPr/>
      <dgm:t>
        <a:bodyPr/>
        <a:lstStyle/>
        <a:p>
          <a:endParaRPr lang="en-US"/>
        </a:p>
      </dgm:t>
    </dgm:pt>
    <dgm:pt modelId="{24BDDF1E-C104-4A50-B501-043A3EA370C8}" type="pres">
      <dgm:prSet presAssocID="{5E59F54A-0C4A-40CC-ADCC-63C7A8448542}" presName="parentText" presStyleLbl="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335E360-FE0A-44C1-BE09-CA95308C35F1}" type="pres">
      <dgm:prSet presAssocID="{5E59F54A-0C4A-40CC-ADCC-63C7A8448542}" presName="descendantText" presStyleLbl="alignAccFollow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33F995-62F4-498A-A225-9170EFD6A513}" type="pres">
      <dgm:prSet presAssocID="{DBAF6082-F1C4-4BFF-ACA4-E0F397FE8BC4}" presName="sp" presStyleCnt="0"/>
      <dgm:spPr/>
      <dgm:t>
        <a:bodyPr/>
        <a:lstStyle/>
        <a:p>
          <a:endParaRPr lang="en-US"/>
        </a:p>
      </dgm:t>
    </dgm:pt>
    <dgm:pt modelId="{63DDECB6-89C9-4CB0-A30F-B701E91A4930}" type="pres">
      <dgm:prSet presAssocID="{E42A6BF4-58D0-4CA1-97D9-21231B1C2B29}" presName="linNode" presStyleCnt="0"/>
      <dgm:spPr/>
      <dgm:t>
        <a:bodyPr/>
        <a:lstStyle/>
        <a:p>
          <a:endParaRPr lang="en-US"/>
        </a:p>
      </dgm:t>
    </dgm:pt>
    <dgm:pt modelId="{22C8CF17-A628-4F6C-AE5E-90D7C8C7A31E}" type="pres">
      <dgm:prSet presAssocID="{E42A6BF4-58D0-4CA1-97D9-21231B1C2B29}" presName="parentText" presStyleLbl="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112BB2-9CB8-4656-9A0C-F0F26C0073C6}" type="pres">
      <dgm:prSet presAssocID="{E42A6BF4-58D0-4CA1-97D9-21231B1C2B29}" presName="descendantText" presStyleLbl="alignAccFollow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28B5DD4-7328-4319-8408-6B1A6A36454B}" type="pres">
      <dgm:prSet presAssocID="{2E132F9E-D9A1-4CC4-A101-6B8DCB024BB6}" presName="sp" presStyleCnt="0"/>
      <dgm:spPr/>
      <dgm:t>
        <a:bodyPr/>
        <a:lstStyle/>
        <a:p>
          <a:endParaRPr lang="en-US"/>
        </a:p>
      </dgm:t>
    </dgm:pt>
    <dgm:pt modelId="{125AB6EF-05C7-4BD9-BBA5-F5B34EAB471E}" type="pres">
      <dgm:prSet presAssocID="{325AD362-120D-4DE5-8951-BFBF4775B4F3}" presName="linNode" presStyleCnt="0"/>
      <dgm:spPr/>
      <dgm:t>
        <a:bodyPr/>
        <a:lstStyle/>
        <a:p>
          <a:endParaRPr lang="en-US"/>
        </a:p>
      </dgm:t>
    </dgm:pt>
    <dgm:pt modelId="{270C650F-2281-4B23-9E1F-A3FDD4A7C188}" type="pres">
      <dgm:prSet presAssocID="{325AD362-120D-4DE5-8951-BFBF4775B4F3}" presName="parentText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6F4BC0A-0BEE-48E6-8151-9FF581BB1578}" type="pres">
      <dgm:prSet presAssocID="{325AD362-120D-4DE5-8951-BFBF4775B4F3}" presName="descendantText" presStyleLbl="alignAccFollow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1EF5ADC-5359-4D12-8263-AE9624EB587C}" type="pres">
      <dgm:prSet presAssocID="{9071D1CF-8C54-4C6D-9DFD-5B1F3E681A6B}" presName="sp" presStyleCnt="0"/>
      <dgm:spPr/>
      <dgm:t>
        <a:bodyPr/>
        <a:lstStyle/>
        <a:p>
          <a:endParaRPr lang="en-US"/>
        </a:p>
      </dgm:t>
    </dgm:pt>
    <dgm:pt modelId="{885CF544-CDE5-498C-B25F-1C6531C61DD6}" type="pres">
      <dgm:prSet presAssocID="{FD1CCAA3-3A2F-473D-AF0F-0C8DA6CE764E}" presName="linNode" presStyleCnt="0"/>
      <dgm:spPr/>
      <dgm:t>
        <a:bodyPr/>
        <a:lstStyle/>
        <a:p>
          <a:endParaRPr lang="en-US"/>
        </a:p>
      </dgm:t>
    </dgm:pt>
    <dgm:pt modelId="{6B1B07BE-9512-4512-8161-3FB9886361FB}" type="pres">
      <dgm:prSet presAssocID="{FD1CCAA3-3A2F-473D-AF0F-0C8DA6CE764E}" presName="parentText" presStyleLbl="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2CCF3C-B140-410A-9060-42334FA944C1}" type="pres">
      <dgm:prSet presAssocID="{FD1CCAA3-3A2F-473D-AF0F-0C8DA6CE764E}" presName="descendantText" presStyleLbl="alignAccFollow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546584F-BD0C-4286-80EE-887999FCE015}" type="presOf" srcId="{85DCBE2A-CCA9-42C2-8CBB-DAFFAFC1C29C}" destId="{C6F4BC0A-0BEE-48E6-8151-9FF581BB1578}" srcOrd="0" destOrd="1" presId="urn:microsoft.com/office/officeart/2005/8/layout/vList5"/>
    <dgm:cxn modelId="{A9A7D003-F5C3-4362-9609-549C895C8711}" type="presOf" srcId="{51E970E1-5A77-4D17-9AD4-80FB2F65A718}" destId="{0C112BB2-9CB8-4656-9A0C-F0F26C0073C6}" srcOrd="0" destOrd="1" presId="urn:microsoft.com/office/officeart/2005/8/layout/vList5"/>
    <dgm:cxn modelId="{CCF442DA-AE19-4795-92FB-C0A4E104A0B0}" type="presOf" srcId="{C4AEEF3B-FEA6-44B1-85B0-74560BB404B2}" destId="{2D2CCF3C-B140-410A-9060-42334FA944C1}" srcOrd="0" destOrd="0" presId="urn:microsoft.com/office/officeart/2005/8/layout/vList5"/>
    <dgm:cxn modelId="{B5EA7252-ED88-4F4C-AD15-97C34EFD36B3}" type="presOf" srcId="{5E59F54A-0C4A-40CC-ADCC-63C7A8448542}" destId="{24BDDF1E-C104-4A50-B501-043A3EA370C8}" srcOrd="0" destOrd="0" presId="urn:microsoft.com/office/officeart/2005/8/layout/vList5"/>
    <dgm:cxn modelId="{3E60F52E-5BF0-49E0-BE4F-644060F6C047}" srcId="{2670989C-FFC8-4F18-8F77-DD25000FC885}" destId="{6217922D-D326-4223-99C2-338E368D4E24}" srcOrd="0" destOrd="0" parTransId="{BE6C478E-AA04-4FA3-B168-D25D88FABE71}" sibTransId="{7E0395BF-FCAE-42E0-B21A-DBF177726F1F}"/>
    <dgm:cxn modelId="{2C8A0DB2-DE98-4A61-AFB5-19A23680A96D}" srcId="{2670989C-FFC8-4F18-8F77-DD25000FC885}" destId="{5E59F54A-0C4A-40CC-ADCC-63C7A8448542}" srcOrd="1" destOrd="0" parTransId="{B42CBCF0-68D9-47D2-BFEA-B03E2F844853}" sibTransId="{DBAF6082-F1C4-4BFF-ACA4-E0F397FE8BC4}"/>
    <dgm:cxn modelId="{EAC4813B-8EEE-4804-A60A-018A1EB4FEC0}" srcId="{2670989C-FFC8-4F18-8F77-DD25000FC885}" destId="{FD1CCAA3-3A2F-473D-AF0F-0C8DA6CE764E}" srcOrd="4" destOrd="0" parTransId="{34292389-3635-478A-8181-ECBBC4EDFF00}" sibTransId="{891001FB-ECF8-4357-A107-478CA0D864A9}"/>
    <dgm:cxn modelId="{CEDBD42C-1AC9-487F-A83D-F7A477A4A910}" type="presOf" srcId="{D25725C0-C090-42F6-A8CB-EDC125C1E61C}" destId="{C6F4BC0A-0BEE-48E6-8151-9FF581BB1578}" srcOrd="0" destOrd="0" presId="urn:microsoft.com/office/officeart/2005/8/layout/vList5"/>
    <dgm:cxn modelId="{27735B13-087F-40CC-B032-1B0E2EF62949}" srcId="{6217922D-D326-4223-99C2-338E368D4E24}" destId="{423B93CC-0E9A-4F17-8658-5046F32A205C}" srcOrd="0" destOrd="0" parTransId="{6A314958-96C8-4A81-A9AD-E2FD7C468184}" sibTransId="{6A956385-39F4-4F6C-9A32-5BE99FA6207C}"/>
    <dgm:cxn modelId="{CDA0DDD8-F7EF-4D48-94E9-39B00A5BB581}" srcId="{E42A6BF4-58D0-4CA1-97D9-21231B1C2B29}" destId="{692063C2-49EC-486C-B382-F33BAF983987}" srcOrd="0" destOrd="0" parTransId="{FCD3BC3E-F97A-41AB-B649-211F8F5AB53D}" sibTransId="{257E9B37-3E94-456D-96DC-93EAD6BC7510}"/>
    <dgm:cxn modelId="{0C28B8DB-5553-40E0-9D94-B303C0E7B6FE}" srcId="{325AD362-120D-4DE5-8951-BFBF4775B4F3}" destId="{D25725C0-C090-42F6-A8CB-EDC125C1E61C}" srcOrd="0" destOrd="0" parTransId="{96ECD44D-E8D2-44DE-90C1-58A379185702}" sibTransId="{3E457071-08C4-44F7-9477-D88A2D7F0329}"/>
    <dgm:cxn modelId="{F7291713-A54F-450B-B318-C4F3A739E1C9}" type="presOf" srcId="{692063C2-49EC-486C-B382-F33BAF983987}" destId="{0C112BB2-9CB8-4656-9A0C-F0F26C0073C6}" srcOrd="0" destOrd="0" presId="urn:microsoft.com/office/officeart/2005/8/layout/vList5"/>
    <dgm:cxn modelId="{2485331B-2C9B-465D-B405-E92244970274}" type="presOf" srcId="{E42A6BF4-58D0-4CA1-97D9-21231B1C2B29}" destId="{22C8CF17-A628-4F6C-AE5E-90D7C8C7A31E}" srcOrd="0" destOrd="0" presId="urn:microsoft.com/office/officeart/2005/8/layout/vList5"/>
    <dgm:cxn modelId="{D0E6E6DC-B397-4314-856B-07FF4697B740}" srcId="{FD1CCAA3-3A2F-473D-AF0F-0C8DA6CE764E}" destId="{C4AEEF3B-FEA6-44B1-85B0-74560BB404B2}" srcOrd="0" destOrd="0" parTransId="{CE4AF94E-9208-4F6D-A5F8-37ECE1296EF5}" sibTransId="{C56535EF-B012-4D07-9B7F-AF40B56C0A7F}"/>
    <dgm:cxn modelId="{77D12AAB-9276-4B89-9C74-44B5E7192D80}" type="presOf" srcId="{FD1CCAA3-3A2F-473D-AF0F-0C8DA6CE764E}" destId="{6B1B07BE-9512-4512-8161-3FB9886361FB}" srcOrd="0" destOrd="0" presId="urn:microsoft.com/office/officeart/2005/8/layout/vList5"/>
    <dgm:cxn modelId="{984EB556-4A2A-4D73-8614-42BF8655FF2E}" srcId="{E42A6BF4-58D0-4CA1-97D9-21231B1C2B29}" destId="{51E970E1-5A77-4D17-9AD4-80FB2F65A718}" srcOrd="1" destOrd="0" parTransId="{F8DF23D7-C358-4F1C-9903-0B52E078CAD2}" sibTransId="{58186783-E486-48F1-912D-FC95A01957B5}"/>
    <dgm:cxn modelId="{BF6F3424-41B8-4466-B296-923C01F509F9}" type="presOf" srcId="{971BC42F-FE29-4101-B711-500758C5CE41}" destId="{6335E360-FE0A-44C1-BE09-CA95308C35F1}" srcOrd="0" destOrd="0" presId="urn:microsoft.com/office/officeart/2005/8/layout/vList5"/>
    <dgm:cxn modelId="{807B77C8-8401-4629-93F0-79F05E1940AA}" type="presOf" srcId="{6217922D-D326-4223-99C2-338E368D4E24}" destId="{0085B675-6B34-45F6-8FD3-CED4CE111F03}" srcOrd="0" destOrd="0" presId="urn:microsoft.com/office/officeart/2005/8/layout/vList5"/>
    <dgm:cxn modelId="{6CB6F1F8-7A5F-4E7D-9DD8-A7816A628940}" srcId="{2670989C-FFC8-4F18-8F77-DD25000FC885}" destId="{325AD362-120D-4DE5-8951-BFBF4775B4F3}" srcOrd="3" destOrd="0" parTransId="{71F950BF-F862-477D-9BC4-365BCD446136}" sibTransId="{9071D1CF-8C54-4C6D-9DFD-5B1F3E681A6B}"/>
    <dgm:cxn modelId="{58FB1747-0E1E-42CC-BD4B-9894A3A85977}" type="presOf" srcId="{325AD362-120D-4DE5-8951-BFBF4775B4F3}" destId="{270C650F-2281-4B23-9E1F-A3FDD4A7C188}" srcOrd="0" destOrd="0" presId="urn:microsoft.com/office/officeart/2005/8/layout/vList5"/>
    <dgm:cxn modelId="{C61D6370-ABCD-4D39-9683-FD4FDBD4DA69}" srcId="{5E59F54A-0C4A-40CC-ADCC-63C7A8448542}" destId="{971BC42F-FE29-4101-B711-500758C5CE41}" srcOrd="0" destOrd="0" parTransId="{D99BD447-61D1-4507-9A0E-FE364210D3E9}" sibTransId="{D44C1D77-10E8-4B84-80B3-680C673A70FE}"/>
    <dgm:cxn modelId="{0D971C47-625C-47F6-8FE7-3ABDB7F9DFE8}" srcId="{2670989C-FFC8-4F18-8F77-DD25000FC885}" destId="{E42A6BF4-58D0-4CA1-97D9-21231B1C2B29}" srcOrd="2" destOrd="0" parTransId="{E84D908D-7B07-49C1-9375-756D600234E5}" sibTransId="{2E132F9E-D9A1-4CC4-A101-6B8DCB024BB6}"/>
    <dgm:cxn modelId="{DAD82F6A-FBE5-4371-B7C4-947A196A6332}" type="presOf" srcId="{423B93CC-0E9A-4F17-8658-5046F32A205C}" destId="{6D73AF32-DC4B-43B4-8AD1-1412CA27BCC0}" srcOrd="0" destOrd="0" presId="urn:microsoft.com/office/officeart/2005/8/layout/vList5"/>
    <dgm:cxn modelId="{D25E5D55-778D-4D9B-A14F-0680D1F081A2}" srcId="{325AD362-120D-4DE5-8951-BFBF4775B4F3}" destId="{85DCBE2A-CCA9-42C2-8CBB-DAFFAFC1C29C}" srcOrd="1" destOrd="0" parTransId="{BF81B504-3B1D-42E9-8A25-93C63BF14CE1}" sibTransId="{A8CAAFD8-98ED-4A64-85A1-5EB8669540B7}"/>
    <dgm:cxn modelId="{68C33F3A-4F0C-4A1C-AB08-12100AE9033B}" type="presOf" srcId="{2670989C-FFC8-4F18-8F77-DD25000FC885}" destId="{0673872A-C2A9-4362-8BBD-9894FA4ADECB}" srcOrd="0" destOrd="0" presId="urn:microsoft.com/office/officeart/2005/8/layout/vList5"/>
    <dgm:cxn modelId="{077E1BE0-93F3-4F29-B884-B28B84C8F563}" type="presParOf" srcId="{0673872A-C2A9-4362-8BBD-9894FA4ADECB}" destId="{1C2F7193-731F-4144-A9DB-DEFAC91EFBE6}" srcOrd="0" destOrd="0" presId="urn:microsoft.com/office/officeart/2005/8/layout/vList5"/>
    <dgm:cxn modelId="{8AF999FA-42FE-4068-8D13-232C560AB590}" type="presParOf" srcId="{1C2F7193-731F-4144-A9DB-DEFAC91EFBE6}" destId="{0085B675-6B34-45F6-8FD3-CED4CE111F03}" srcOrd="0" destOrd="0" presId="urn:microsoft.com/office/officeart/2005/8/layout/vList5"/>
    <dgm:cxn modelId="{2D2F33CE-BA2C-44EC-9685-0D133A3FD94F}" type="presParOf" srcId="{1C2F7193-731F-4144-A9DB-DEFAC91EFBE6}" destId="{6D73AF32-DC4B-43B4-8AD1-1412CA27BCC0}" srcOrd="1" destOrd="0" presId="urn:microsoft.com/office/officeart/2005/8/layout/vList5"/>
    <dgm:cxn modelId="{3070AC35-D830-44DB-8AE2-7BA56D1CCF56}" type="presParOf" srcId="{0673872A-C2A9-4362-8BBD-9894FA4ADECB}" destId="{B644E67D-D1B5-455A-94E3-FA81222D7ABA}" srcOrd="1" destOrd="0" presId="urn:microsoft.com/office/officeart/2005/8/layout/vList5"/>
    <dgm:cxn modelId="{BF83F5C1-9FCF-4C9D-BA3F-54385074E84B}" type="presParOf" srcId="{0673872A-C2A9-4362-8BBD-9894FA4ADECB}" destId="{132FD004-C237-4768-B84B-84005F157E89}" srcOrd="2" destOrd="0" presId="urn:microsoft.com/office/officeart/2005/8/layout/vList5"/>
    <dgm:cxn modelId="{0CD5ABB8-3610-453D-8FED-F01C0B2FC2B0}" type="presParOf" srcId="{132FD004-C237-4768-B84B-84005F157E89}" destId="{24BDDF1E-C104-4A50-B501-043A3EA370C8}" srcOrd="0" destOrd="0" presId="urn:microsoft.com/office/officeart/2005/8/layout/vList5"/>
    <dgm:cxn modelId="{BF613980-9CAC-4565-8F1C-8003B870777E}" type="presParOf" srcId="{132FD004-C237-4768-B84B-84005F157E89}" destId="{6335E360-FE0A-44C1-BE09-CA95308C35F1}" srcOrd="1" destOrd="0" presId="urn:microsoft.com/office/officeart/2005/8/layout/vList5"/>
    <dgm:cxn modelId="{2C6071C1-7EBE-4F78-BA3D-8B968D2ABA50}" type="presParOf" srcId="{0673872A-C2A9-4362-8BBD-9894FA4ADECB}" destId="{4633F995-62F4-498A-A225-9170EFD6A513}" srcOrd="3" destOrd="0" presId="urn:microsoft.com/office/officeart/2005/8/layout/vList5"/>
    <dgm:cxn modelId="{01889658-C0A8-4F5B-8B50-40E02E94A6D3}" type="presParOf" srcId="{0673872A-C2A9-4362-8BBD-9894FA4ADECB}" destId="{63DDECB6-89C9-4CB0-A30F-B701E91A4930}" srcOrd="4" destOrd="0" presId="urn:microsoft.com/office/officeart/2005/8/layout/vList5"/>
    <dgm:cxn modelId="{1FD717DE-45A7-45DD-A4AC-D8C7DD54D75D}" type="presParOf" srcId="{63DDECB6-89C9-4CB0-A30F-B701E91A4930}" destId="{22C8CF17-A628-4F6C-AE5E-90D7C8C7A31E}" srcOrd="0" destOrd="0" presId="urn:microsoft.com/office/officeart/2005/8/layout/vList5"/>
    <dgm:cxn modelId="{45C5E594-335E-4E17-9413-EB4F38F2CA3E}" type="presParOf" srcId="{63DDECB6-89C9-4CB0-A30F-B701E91A4930}" destId="{0C112BB2-9CB8-4656-9A0C-F0F26C0073C6}" srcOrd="1" destOrd="0" presId="urn:microsoft.com/office/officeart/2005/8/layout/vList5"/>
    <dgm:cxn modelId="{82834656-3C99-4550-9951-CBA2109E89C7}" type="presParOf" srcId="{0673872A-C2A9-4362-8BBD-9894FA4ADECB}" destId="{628B5DD4-7328-4319-8408-6B1A6A36454B}" srcOrd="5" destOrd="0" presId="urn:microsoft.com/office/officeart/2005/8/layout/vList5"/>
    <dgm:cxn modelId="{06095F33-A954-44AF-866E-43F85EA8B141}" type="presParOf" srcId="{0673872A-C2A9-4362-8BBD-9894FA4ADECB}" destId="{125AB6EF-05C7-4BD9-BBA5-F5B34EAB471E}" srcOrd="6" destOrd="0" presId="urn:microsoft.com/office/officeart/2005/8/layout/vList5"/>
    <dgm:cxn modelId="{B64FBC7E-BF01-44C4-9A54-88E26C06E5FA}" type="presParOf" srcId="{125AB6EF-05C7-4BD9-BBA5-F5B34EAB471E}" destId="{270C650F-2281-4B23-9E1F-A3FDD4A7C188}" srcOrd="0" destOrd="0" presId="urn:microsoft.com/office/officeart/2005/8/layout/vList5"/>
    <dgm:cxn modelId="{0860F2B6-8D04-447E-8541-403E8C958B5D}" type="presParOf" srcId="{125AB6EF-05C7-4BD9-BBA5-F5B34EAB471E}" destId="{C6F4BC0A-0BEE-48E6-8151-9FF581BB1578}" srcOrd="1" destOrd="0" presId="urn:microsoft.com/office/officeart/2005/8/layout/vList5"/>
    <dgm:cxn modelId="{319DDECC-28ED-4A8C-BD5E-73ADA737250E}" type="presParOf" srcId="{0673872A-C2A9-4362-8BBD-9894FA4ADECB}" destId="{B1EF5ADC-5359-4D12-8263-AE9624EB587C}" srcOrd="7" destOrd="0" presId="urn:microsoft.com/office/officeart/2005/8/layout/vList5"/>
    <dgm:cxn modelId="{80A16F68-2D88-48A7-AC7A-7CE92FB4C219}" type="presParOf" srcId="{0673872A-C2A9-4362-8BBD-9894FA4ADECB}" destId="{885CF544-CDE5-498C-B25F-1C6531C61DD6}" srcOrd="8" destOrd="0" presId="urn:microsoft.com/office/officeart/2005/8/layout/vList5"/>
    <dgm:cxn modelId="{C8BEB4AF-29C4-4CE6-B36D-A1939F083689}" type="presParOf" srcId="{885CF544-CDE5-498C-B25F-1C6531C61DD6}" destId="{6B1B07BE-9512-4512-8161-3FB9886361FB}" srcOrd="0" destOrd="0" presId="urn:microsoft.com/office/officeart/2005/8/layout/vList5"/>
    <dgm:cxn modelId="{33C65C35-431C-4567-969C-8FD1FA78EA6F}" type="presParOf" srcId="{885CF544-CDE5-498C-B25F-1C6531C61DD6}" destId="{2D2CCF3C-B140-410A-9060-42334FA944C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D73AF32-DC4B-43B4-8AD1-1412CA27BCC0}">
      <dsp:nvSpPr>
        <dsp:cNvPr id="0" name=""/>
        <dsp:cNvSpPr/>
      </dsp:nvSpPr>
      <dsp:spPr>
        <a:xfrm rot="5400000">
          <a:off x="5642587" y="-2384605"/>
          <a:ext cx="690897" cy="5635799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Este é o </a:t>
          </a:r>
          <a:r>
            <a:rPr lang="en-US" sz="1200" kern="1200" dirty="0" err="1" smtClean="0"/>
            <a:t>contrat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que</a:t>
          </a:r>
          <a:r>
            <a:rPr lang="en-US" sz="1200" kern="1200" dirty="0" smtClean="0"/>
            <a:t> é </a:t>
          </a:r>
          <a:r>
            <a:rPr lang="en-US" sz="1200" kern="1200" dirty="0" err="1" smtClean="0"/>
            <a:t>assinad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apena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um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vez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pel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cooperante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da</a:t>
          </a:r>
          <a:r>
            <a:rPr lang="en-US" sz="1200" kern="1200" dirty="0" smtClean="0"/>
            <a:t> Monsanto e </a:t>
          </a:r>
          <a:r>
            <a:rPr lang="en-US" sz="1200" kern="1200" dirty="0" err="1" smtClean="0"/>
            <a:t>nã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estabelece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relação</a:t>
          </a:r>
          <a:r>
            <a:rPr lang="en-US" sz="1200" kern="1200" dirty="0" smtClean="0"/>
            <a:t> entre as </a:t>
          </a:r>
          <a:r>
            <a:rPr lang="en-US" sz="1200" kern="1200" dirty="0" err="1" smtClean="0"/>
            <a:t>partes</a:t>
          </a:r>
          <a:r>
            <a:rPr lang="en-US" sz="1200" kern="1200" dirty="0" smtClean="0"/>
            <a:t>,  </a:t>
          </a:r>
          <a:r>
            <a:rPr lang="en-US" sz="1200" kern="1200" dirty="0" err="1" smtClean="0"/>
            <a:t>send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um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espécie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contrat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guard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chuva</a:t>
          </a:r>
          <a:r>
            <a:rPr lang="en-US" sz="1200" kern="1200" dirty="0" smtClean="0"/>
            <a:t>, </a:t>
          </a:r>
          <a:r>
            <a:rPr lang="en-US" sz="1200" kern="1200" dirty="0" err="1" smtClean="0"/>
            <a:t>aonde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estã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previsto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o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critérios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descarte</a:t>
          </a:r>
          <a:r>
            <a:rPr lang="en-US" sz="1200" kern="1200" dirty="0" smtClean="0"/>
            <a:t> de material</a:t>
          </a:r>
          <a:endParaRPr lang="en-US" sz="1200" kern="1200" dirty="0"/>
        </a:p>
      </dsp:txBody>
      <dsp:txXfrm rot="5400000">
        <a:off x="5642587" y="-2384605"/>
        <a:ext cx="690897" cy="5635799"/>
      </dsp:txXfrm>
    </dsp:sp>
    <dsp:sp modelId="{0085B675-6B34-45F6-8FD3-CED4CE111F03}">
      <dsp:nvSpPr>
        <dsp:cNvPr id="0" name=""/>
        <dsp:cNvSpPr/>
      </dsp:nvSpPr>
      <dsp:spPr>
        <a:xfrm>
          <a:off x="0" y="1483"/>
          <a:ext cx="3170136" cy="863621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err="1" smtClean="0"/>
            <a:t>Contrato</a:t>
          </a:r>
          <a:r>
            <a:rPr lang="en-US" sz="3200" kern="1200" dirty="0" smtClean="0"/>
            <a:t> </a:t>
          </a:r>
          <a:r>
            <a:rPr lang="en-US" sz="3200" kern="1200" dirty="0" err="1" smtClean="0"/>
            <a:t>Mãe</a:t>
          </a:r>
          <a:endParaRPr lang="en-US" sz="3200" kern="1200" dirty="0"/>
        </a:p>
      </dsp:txBody>
      <dsp:txXfrm>
        <a:off x="0" y="1483"/>
        <a:ext cx="3170136" cy="863621"/>
      </dsp:txXfrm>
    </dsp:sp>
    <dsp:sp modelId="{6335E360-FE0A-44C1-BE09-CA95308C35F1}">
      <dsp:nvSpPr>
        <dsp:cNvPr id="0" name=""/>
        <dsp:cNvSpPr/>
      </dsp:nvSpPr>
      <dsp:spPr>
        <a:xfrm rot="5400000">
          <a:off x="5642587" y="-1477803"/>
          <a:ext cx="690897" cy="5635799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2.3C – </a:t>
          </a:r>
          <a:r>
            <a:rPr lang="en-US" sz="1200" kern="1200" dirty="0" err="1" smtClean="0"/>
            <a:t>Anexo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contratação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áre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par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milh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que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prevê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pós</a:t>
          </a:r>
          <a:r>
            <a:rPr lang="en-US" sz="1200" kern="1200" dirty="0" smtClean="0"/>
            <a:t>-fix, base CEPEA</a:t>
          </a:r>
          <a:endParaRPr lang="en-US" sz="1200" kern="1200" dirty="0"/>
        </a:p>
        <a:p>
          <a:pPr marL="114300" lvl="1" indent="-11430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2.3D – </a:t>
          </a:r>
          <a:r>
            <a:rPr lang="en-US" sz="1200" kern="1200" dirty="0" err="1" smtClean="0"/>
            <a:t>Anexo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contratação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áre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par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sorg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que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prevê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pós</a:t>
          </a:r>
          <a:r>
            <a:rPr lang="en-US" sz="1200" kern="1200" dirty="0" smtClean="0"/>
            <a:t>-fix, base CEPEA</a:t>
          </a:r>
          <a:endParaRPr lang="en-US" sz="1200" kern="1200" dirty="0"/>
        </a:p>
      </dsp:txBody>
      <dsp:txXfrm rot="5400000">
        <a:off x="5642587" y="-1477803"/>
        <a:ext cx="690897" cy="5635799"/>
      </dsp:txXfrm>
    </dsp:sp>
    <dsp:sp modelId="{24BDDF1E-C104-4A50-B501-043A3EA370C8}">
      <dsp:nvSpPr>
        <dsp:cNvPr id="0" name=""/>
        <dsp:cNvSpPr/>
      </dsp:nvSpPr>
      <dsp:spPr>
        <a:xfrm>
          <a:off x="0" y="908285"/>
          <a:ext cx="3170136" cy="863621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err="1" smtClean="0"/>
            <a:t>Anexo</a:t>
          </a:r>
          <a:r>
            <a:rPr lang="en-US" sz="3200" kern="1200" dirty="0" smtClean="0"/>
            <a:t> 2.3C/2.3D</a:t>
          </a:r>
          <a:endParaRPr lang="en-US" sz="3200" kern="1200" dirty="0"/>
        </a:p>
      </dsp:txBody>
      <dsp:txXfrm>
        <a:off x="0" y="908285"/>
        <a:ext cx="3170136" cy="863621"/>
      </dsp:txXfrm>
    </dsp:sp>
    <dsp:sp modelId="{14FEA00B-A393-438D-9CC7-BD19239B02A7}">
      <dsp:nvSpPr>
        <dsp:cNvPr id="0" name=""/>
        <dsp:cNvSpPr/>
      </dsp:nvSpPr>
      <dsp:spPr>
        <a:xfrm rot="5400000">
          <a:off x="5642587" y="-571000"/>
          <a:ext cx="690897" cy="5635799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2.3A – </a:t>
          </a:r>
          <a:r>
            <a:rPr lang="en-US" sz="1200" kern="1200" dirty="0" err="1" smtClean="0"/>
            <a:t>Anexo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contratação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áre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par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milho</a:t>
          </a:r>
          <a:r>
            <a:rPr lang="en-US" sz="1200" kern="1200" dirty="0" smtClean="0"/>
            <a:t> com </a:t>
          </a:r>
          <a:r>
            <a:rPr lang="en-US" sz="1200" kern="1200" dirty="0" err="1" smtClean="0"/>
            <a:t>pré</a:t>
          </a:r>
          <a:r>
            <a:rPr lang="en-US" sz="1200" kern="1200" dirty="0" smtClean="0"/>
            <a:t>-fix, base BMF</a:t>
          </a:r>
          <a:endParaRPr lang="en-US" sz="1200" kern="1200" dirty="0"/>
        </a:p>
        <a:p>
          <a:pPr marL="114300" lvl="1" indent="-11430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2.3B – </a:t>
          </a:r>
          <a:r>
            <a:rPr lang="en-US" sz="1200" kern="1200" dirty="0" err="1" smtClean="0"/>
            <a:t>Anexo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contratação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áre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par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sorgo</a:t>
          </a:r>
          <a:r>
            <a:rPr lang="en-US" sz="1200" kern="1200" dirty="0" smtClean="0"/>
            <a:t> com </a:t>
          </a:r>
          <a:r>
            <a:rPr lang="en-US" sz="1200" kern="1200" dirty="0" err="1" smtClean="0"/>
            <a:t>pré</a:t>
          </a:r>
          <a:r>
            <a:rPr lang="en-US" sz="1200" kern="1200" dirty="0" smtClean="0"/>
            <a:t>-fix, base BMF</a:t>
          </a:r>
          <a:endParaRPr lang="en-US" sz="1200" kern="1200" dirty="0"/>
        </a:p>
      </dsp:txBody>
      <dsp:txXfrm rot="5400000">
        <a:off x="5642587" y="-571000"/>
        <a:ext cx="690897" cy="5635799"/>
      </dsp:txXfrm>
    </dsp:sp>
    <dsp:sp modelId="{B7E9C9E4-8F57-4CB5-B4F7-02F9889505E2}">
      <dsp:nvSpPr>
        <dsp:cNvPr id="0" name=""/>
        <dsp:cNvSpPr/>
      </dsp:nvSpPr>
      <dsp:spPr>
        <a:xfrm>
          <a:off x="0" y="1815088"/>
          <a:ext cx="3170136" cy="863621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err="1" smtClean="0"/>
            <a:t>Anexo</a:t>
          </a:r>
          <a:r>
            <a:rPr lang="en-US" sz="3200" kern="1200" dirty="0" smtClean="0"/>
            <a:t> 2.3A/2.3B</a:t>
          </a:r>
          <a:endParaRPr lang="en-US" sz="3200" kern="1200" dirty="0"/>
        </a:p>
      </dsp:txBody>
      <dsp:txXfrm>
        <a:off x="0" y="1815088"/>
        <a:ext cx="3170136" cy="863621"/>
      </dsp:txXfrm>
    </dsp:sp>
    <dsp:sp modelId="{0C112BB2-9CB8-4656-9A0C-F0F26C0073C6}">
      <dsp:nvSpPr>
        <dsp:cNvPr id="0" name=""/>
        <dsp:cNvSpPr/>
      </dsp:nvSpPr>
      <dsp:spPr>
        <a:xfrm rot="5400000">
          <a:off x="5642587" y="335801"/>
          <a:ext cx="690897" cy="5635799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err="1" smtClean="0"/>
            <a:t>Diverso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aditivos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serviço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realizado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pelo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cooperante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sã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fornecidos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acordo</a:t>
          </a:r>
          <a:r>
            <a:rPr lang="en-US" sz="1200" kern="1200" dirty="0" smtClean="0"/>
            <a:t> com a </a:t>
          </a:r>
          <a:r>
            <a:rPr lang="en-US" sz="1200" kern="1200" dirty="0" err="1" smtClean="0"/>
            <a:t>variedade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serviço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que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ele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acordam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fazer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no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campo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d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monsanto</a:t>
          </a:r>
          <a:r>
            <a:rPr lang="en-US" sz="1200" kern="1200" dirty="0" smtClean="0"/>
            <a:t>, </a:t>
          </a:r>
          <a:r>
            <a:rPr lang="en-US" sz="1200" kern="1200" dirty="0" err="1" smtClean="0"/>
            <a:t>quant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mai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serviço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mai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pagamo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em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termos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equivalênci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comercial</a:t>
          </a:r>
          <a:endParaRPr lang="en-US" sz="1200" kern="1200" dirty="0"/>
        </a:p>
      </dsp:txBody>
      <dsp:txXfrm rot="5400000">
        <a:off x="5642587" y="335801"/>
        <a:ext cx="690897" cy="5635799"/>
      </dsp:txXfrm>
    </dsp:sp>
    <dsp:sp modelId="{22C8CF17-A628-4F6C-AE5E-90D7C8C7A31E}">
      <dsp:nvSpPr>
        <dsp:cNvPr id="0" name=""/>
        <dsp:cNvSpPr/>
      </dsp:nvSpPr>
      <dsp:spPr>
        <a:xfrm>
          <a:off x="0" y="2721890"/>
          <a:ext cx="3170136" cy="863621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err="1" smtClean="0"/>
            <a:t>Aditivos</a:t>
          </a:r>
          <a:endParaRPr lang="en-US" sz="3200" kern="1200" dirty="0"/>
        </a:p>
      </dsp:txBody>
      <dsp:txXfrm>
        <a:off x="0" y="2721890"/>
        <a:ext cx="3170136" cy="863621"/>
      </dsp:txXfrm>
    </dsp:sp>
    <dsp:sp modelId="{C6F4BC0A-0BEE-48E6-8151-9FF581BB1578}">
      <dsp:nvSpPr>
        <dsp:cNvPr id="0" name=""/>
        <dsp:cNvSpPr/>
      </dsp:nvSpPr>
      <dsp:spPr>
        <a:xfrm rot="5400000">
          <a:off x="5642587" y="1242604"/>
          <a:ext cx="690897" cy="5635799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A </a:t>
          </a:r>
          <a:r>
            <a:rPr lang="en-US" sz="1200" kern="1200" dirty="0" err="1" smtClean="0"/>
            <a:t>produção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sementes</a:t>
          </a:r>
          <a:r>
            <a:rPr lang="en-US" sz="1200" kern="1200" dirty="0" smtClean="0"/>
            <a:t> é </a:t>
          </a:r>
          <a:r>
            <a:rPr lang="en-US" sz="1200" kern="1200" dirty="0" err="1" smtClean="0"/>
            <a:t>naturalmente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meno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produtiva</a:t>
          </a:r>
          <a:r>
            <a:rPr lang="en-US" sz="1200" kern="1200" dirty="0" smtClean="0"/>
            <a:t> do </a:t>
          </a:r>
          <a:r>
            <a:rPr lang="en-US" sz="1200" kern="1200" dirty="0" err="1" smtClean="0"/>
            <a:t>que</a:t>
          </a:r>
          <a:r>
            <a:rPr lang="en-US" sz="1200" kern="1200" dirty="0" smtClean="0"/>
            <a:t> a </a:t>
          </a:r>
          <a:r>
            <a:rPr lang="en-US" sz="1200" kern="1200" dirty="0" err="1" smtClean="0"/>
            <a:t>comercial</a:t>
          </a:r>
          <a:r>
            <a:rPr lang="en-US" sz="1200" kern="1200" dirty="0" smtClean="0"/>
            <a:t>, </a:t>
          </a:r>
          <a:r>
            <a:rPr lang="en-US" sz="1200" kern="1200" dirty="0" err="1" smtClean="0"/>
            <a:t>pagamo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um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equivalênci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par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aumentar</a:t>
          </a:r>
          <a:r>
            <a:rPr lang="en-US" sz="1200" kern="1200" dirty="0" smtClean="0"/>
            <a:t> a </a:t>
          </a:r>
          <a:r>
            <a:rPr lang="en-US" sz="1200" kern="1200" dirty="0" err="1" smtClean="0"/>
            <a:t>atratividade</a:t>
          </a:r>
          <a:r>
            <a:rPr lang="en-US" sz="1200" kern="1200" dirty="0" smtClean="0"/>
            <a:t>, </a:t>
          </a:r>
          <a:r>
            <a:rPr lang="en-US" sz="1200" kern="1200" dirty="0" err="1" smtClean="0"/>
            <a:t>esta</a:t>
          </a:r>
          <a:r>
            <a:rPr lang="en-US" sz="1200" kern="1200" dirty="0" smtClean="0"/>
            <a:t> é </a:t>
          </a:r>
          <a:r>
            <a:rPr lang="en-US" sz="1200" kern="1200" dirty="0" err="1" smtClean="0"/>
            <a:t>express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n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Cart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Ágio</a:t>
          </a:r>
          <a:r>
            <a:rPr lang="en-US" sz="1200" kern="1200" dirty="0" smtClean="0"/>
            <a:t>, </a:t>
          </a:r>
          <a:r>
            <a:rPr lang="en-US" sz="1200" kern="1200" dirty="0" err="1" smtClean="0"/>
            <a:t>geralmente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gerada</a:t>
          </a:r>
          <a:r>
            <a:rPr lang="en-US" sz="1200" kern="1200" dirty="0" smtClean="0"/>
            <a:t> no final </a:t>
          </a:r>
          <a:r>
            <a:rPr lang="en-US" sz="1200" kern="1200" dirty="0" err="1" smtClean="0"/>
            <a:t>d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safra</a:t>
          </a:r>
          <a:r>
            <a:rPr lang="en-US" sz="1200" kern="1200" dirty="0" smtClean="0"/>
            <a:t> com a </a:t>
          </a:r>
          <a:r>
            <a:rPr lang="en-US" sz="1200" kern="1200" dirty="0" err="1" smtClean="0"/>
            <a:t>aprovação</a:t>
          </a:r>
          <a:r>
            <a:rPr lang="en-US" sz="1200" kern="1200" dirty="0" smtClean="0"/>
            <a:t> das </a:t>
          </a:r>
          <a:r>
            <a:rPr lang="en-US" sz="1200" kern="1200" dirty="0" err="1" smtClean="0"/>
            <a:t>condiçõe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comerciais</a:t>
          </a:r>
          <a:endParaRPr lang="en-US" sz="1200" kern="1200" dirty="0"/>
        </a:p>
      </dsp:txBody>
      <dsp:txXfrm rot="5400000">
        <a:off x="5642587" y="1242604"/>
        <a:ext cx="690897" cy="5635799"/>
      </dsp:txXfrm>
    </dsp:sp>
    <dsp:sp modelId="{270C650F-2281-4B23-9E1F-A3FDD4A7C188}">
      <dsp:nvSpPr>
        <dsp:cNvPr id="0" name=""/>
        <dsp:cNvSpPr/>
      </dsp:nvSpPr>
      <dsp:spPr>
        <a:xfrm>
          <a:off x="0" y="3628692"/>
          <a:ext cx="3170136" cy="863621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err="1" smtClean="0"/>
            <a:t>Carta</a:t>
          </a:r>
          <a:r>
            <a:rPr lang="en-US" sz="3200" kern="1200" dirty="0" smtClean="0"/>
            <a:t> </a:t>
          </a:r>
          <a:r>
            <a:rPr lang="en-US" sz="3200" kern="1200" dirty="0" err="1" smtClean="0"/>
            <a:t>Ágio</a:t>
          </a:r>
          <a:endParaRPr lang="en-US" sz="3200" kern="1200" dirty="0"/>
        </a:p>
      </dsp:txBody>
      <dsp:txXfrm>
        <a:off x="0" y="3628692"/>
        <a:ext cx="3170136" cy="863621"/>
      </dsp:txXfrm>
    </dsp:sp>
    <dsp:sp modelId="{2D2CCF3C-B140-410A-9060-42334FA944C1}">
      <dsp:nvSpPr>
        <dsp:cNvPr id="0" name=""/>
        <dsp:cNvSpPr/>
      </dsp:nvSpPr>
      <dsp:spPr>
        <a:xfrm rot="5400000">
          <a:off x="5642587" y="2149406"/>
          <a:ext cx="690897" cy="5635799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Estes </a:t>
          </a:r>
          <a:r>
            <a:rPr lang="en-US" sz="1200" kern="1200" dirty="0" err="1" smtClean="0"/>
            <a:t>sã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o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distratos</a:t>
          </a:r>
          <a:r>
            <a:rPr lang="en-US" sz="1200" kern="1200" dirty="0" smtClean="0"/>
            <a:t> no </a:t>
          </a:r>
          <a:r>
            <a:rPr lang="en-US" sz="1200" kern="1200" dirty="0" err="1" smtClean="0"/>
            <a:t>caso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cessão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contrataçã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d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área</a:t>
          </a:r>
          <a:r>
            <a:rPr lang="en-US" sz="1200" kern="1200" dirty="0" smtClean="0"/>
            <a:t> do </a:t>
          </a:r>
          <a:r>
            <a:rPr lang="en-US" sz="1200" kern="1200" dirty="0" err="1" smtClean="0"/>
            <a:t>cooperante</a:t>
          </a:r>
          <a:r>
            <a:rPr lang="en-US" sz="1200" kern="1200" dirty="0" smtClean="0"/>
            <a:t>, tem </a:t>
          </a:r>
          <a:r>
            <a:rPr lang="en-US" sz="1200" kern="1200" dirty="0" err="1" smtClean="0"/>
            <a:t>diferente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naturezas</a:t>
          </a:r>
          <a:r>
            <a:rPr lang="en-US" sz="1200" kern="1200" dirty="0" smtClean="0"/>
            <a:t> a </a:t>
          </a:r>
          <a:r>
            <a:rPr lang="en-US" sz="1200" kern="1200" dirty="0" err="1" smtClean="0"/>
            <a:t>depender</a:t>
          </a:r>
          <a:r>
            <a:rPr lang="en-US" sz="1200" kern="1200" dirty="0" smtClean="0"/>
            <a:t> do status do campo e </a:t>
          </a:r>
          <a:r>
            <a:rPr lang="en-US" sz="1200" kern="1200" dirty="0" err="1" smtClean="0"/>
            <a:t>d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negociação</a:t>
          </a:r>
          <a:r>
            <a:rPr lang="en-US" sz="1200" kern="1200" dirty="0" smtClean="0"/>
            <a:t> com o </a:t>
          </a:r>
          <a:r>
            <a:rPr lang="en-US" sz="1200" kern="1200" dirty="0" err="1" smtClean="0"/>
            <a:t>cooperante</a:t>
          </a:r>
          <a:endParaRPr lang="en-US" sz="1200" kern="1200" dirty="0"/>
        </a:p>
      </dsp:txBody>
      <dsp:txXfrm rot="5400000">
        <a:off x="5642587" y="2149406"/>
        <a:ext cx="690897" cy="5635799"/>
      </dsp:txXfrm>
    </dsp:sp>
    <dsp:sp modelId="{6B1B07BE-9512-4512-8161-3FB9886361FB}">
      <dsp:nvSpPr>
        <dsp:cNvPr id="0" name=""/>
        <dsp:cNvSpPr/>
      </dsp:nvSpPr>
      <dsp:spPr>
        <a:xfrm>
          <a:off x="0" y="4535495"/>
          <a:ext cx="3170136" cy="863621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err="1" smtClean="0"/>
            <a:t>Distratos</a:t>
          </a:r>
          <a:endParaRPr lang="en-US" sz="3200" kern="1200" dirty="0"/>
        </a:p>
      </dsp:txBody>
      <dsp:txXfrm>
        <a:off x="0" y="4535495"/>
        <a:ext cx="3170136" cy="863621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D73AF32-DC4B-43B4-8AD1-1412CA27BCC0}">
      <dsp:nvSpPr>
        <dsp:cNvPr id="0" name=""/>
        <dsp:cNvSpPr/>
      </dsp:nvSpPr>
      <dsp:spPr>
        <a:xfrm rot="5400000">
          <a:off x="5518471" y="-2266702"/>
          <a:ext cx="841199" cy="5589713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err="1" smtClean="0"/>
            <a:t>Est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minut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continuará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existindo</a:t>
          </a:r>
          <a:r>
            <a:rPr lang="en-US" sz="1200" kern="1200" dirty="0" smtClean="0"/>
            <a:t>? As </a:t>
          </a:r>
          <a:r>
            <a:rPr lang="en-US" sz="1200" kern="1200" dirty="0" err="1" smtClean="0"/>
            <a:t>minutas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descarte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precisam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continuar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existindo</a:t>
          </a:r>
          <a:r>
            <a:rPr lang="en-US" sz="1200" kern="1200" dirty="0" smtClean="0"/>
            <a:t>?</a:t>
          </a:r>
          <a:endParaRPr lang="en-US" sz="1200" kern="1200" dirty="0"/>
        </a:p>
      </dsp:txBody>
      <dsp:txXfrm rot="5400000">
        <a:off x="5518471" y="-2266702"/>
        <a:ext cx="841199" cy="5589713"/>
      </dsp:txXfrm>
    </dsp:sp>
    <dsp:sp modelId="{0085B675-6B34-45F6-8FD3-CED4CE111F03}">
      <dsp:nvSpPr>
        <dsp:cNvPr id="0" name=""/>
        <dsp:cNvSpPr/>
      </dsp:nvSpPr>
      <dsp:spPr>
        <a:xfrm>
          <a:off x="0" y="2404"/>
          <a:ext cx="3144214" cy="105149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780" tIns="72390" rIns="144780" bIns="72390" numCol="1" spcCol="1270" anchor="ctr" anchorCtr="0">
          <a:noAutofit/>
        </a:bodyPr>
        <a:lstStyle/>
        <a:p>
          <a:pPr lvl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800" kern="1200" dirty="0" err="1" smtClean="0"/>
            <a:t>Contrato</a:t>
          </a:r>
          <a:r>
            <a:rPr lang="en-US" sz="3800" kern="1200" dirty="0" smtClean="0"/>
            <a:t> </a:t>
          </a:r>
          <a:r>
            <a:rPr lang="en-US" sz="3800" kern="1200" dirty="0" err="1" smtClean="0"/>
            <a:t>Mãe</a:t>
          </a:r>
          <a:endParaRPr lang="en-US" sz="3800" kern="1200" dirty="0"/>
        </a:p>
      </dsp:txBody>
      <dsp:txXfrm>
        <a:off x="0" y="2404"/>
        <a:ext cx="3144214" cy="1051499"/>
      </dsp:txXfrm>
    </dsp:sp>
    <dsp:sp modelId="{6335E360-FE0A-44C1-BE09-CA95308C35F1}">
      <dsp:nvSpPr>
        <dsp:cNvPr id="0" name=""/>
        <dsp:cNvSpPr/>
      </dsp:nvSpPr>
      <dsp:spPr>
        <a:xfrm rot="5400000">
          <a:off x="5518471" y="-1162627"/>
          <a:ext cx="841199" cy="5589713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Este </a:t>
          </a:r>
          <a:r>
            <a:rPr lang="en-US" sz="1200" kern="1200" dirty="0" err="1" smtClean="0"/>
            <a:t>será</a:t>
          </a:r>
          <a:r>
            <a:rPr lang="en-US" sz="1200" kern="1200" dirty="0" smtClean="0"/>
            <a:t> o </a:t>
          </a:r>
          <a:r>
            <a:rPr lang="en-US" sz="1200" kern="1200" dirty="0" err="1" smtClean="0"/>
            <a:t>únic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contrat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gerad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para</a:t>
          </a:r>
          <a:r>
            <a:rPr lang="en-US" sz="1200" kern="1200" dirty="0" smtClean="0"/>
            <a:t> a </a:t>
          </a:r>
          <a:r>
            <a:rPr lang="en-US" sz="1200" kern="1200" dirty="0" err="1" smtClean="0"/>
            <a:t>contratação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área</a:t>
          </a:r>
          <a:r>
            <a:rPr lang="en-US" sz="1200" kern="1200" dirty="0" smtClean="0"/>
            <a:t>, </a:t>
          </a:r>
          <a:r>
            <a:rPr lang="en-US" sz="1200" kern="1200" dirty="0" err="1" smtClean="0"/>
            <a:t>ele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será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unic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par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todas</a:t>
          </a:r>
          <a:r>
            <a:rPr lang="en-US" sz="1200" kern="1200" dirty="0" smtClean="0"/>
            <a:t> as </a:t>
          </a:r>
          <a:r>
            <a:rPr lang="en-US" sz="1200" kern="1200" dirty="0" err="1" smtClean="0"/>
            <a:t>unidades</a:t>
          </a:r>
          <a:r>
            <a:rPr lang="en-US" sz="1200" kern="1200" dirty="0" smtClean="0"/>
            <a:t>? </a:t>
          </a:r>
          <a:r>
            <a:rPr lang="en-US" sz="1200" kern="1200" dirty="0" err="1" smtClean="0"/>
            <a:t>Talvez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alguma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especificidades</a:t>
          </a:r>
          <a:r>
            <a:rPr lang="en-US" sz="1200" kern="1200" dirty="0" smtClean="0"/>
            <a:t> entre </a:t>
          </a:r>
          <a:r>
            <a:rPr lang="en-US" sz="1200" kern="1200" dirty="0" err="1" smtClean="0"/>
            <a:t>unidade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dificulte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isto</a:t>
          </a:r>
          <a:r>
            <a:rPr lang="en-US" sz="1200" kern="1200" dirty="0" smtClean="0"/>
            <a:t>, ex: </a:t>
          </a:r>
          <a:r>
            <a:rPr lang="en-US" sz="1200" kern="1200" dirty="0" err="1" smtClean="0"/>
            <a:t>Bonificação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Itaí</a:t>
          </a:r>
          <a:r>
            <a:rPr lang="en-US" sz="1200" kern="1200" dirty="0" smtClean="0"/>
            <a:t>, </a:t>
          </a:r>
          <a:r>
            <a:rPr lang="en-US" sz="1200" kern="1200" dirty="0" err="1" smtClean="0"/>
            <a:t>Serviços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pulverizaçã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em</a:t>
          </a:r>
          <a:r>
            <a:rPr lang="en-US" sz="1200" kern="1200" dirty="0" smtClean="0"/>
            <a:t> PTU e IPU, </a:t>
          </a:r>
          <a:r>
            <a:rPr lang="en-US" sz="1200" kern="1200" dirty="0" err="1" smtClean="0"/>
            <a:t>opções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contratos</a:t>
          </a:r>
          <a:r>
            <a:rPr lang="en-US" sz="1200" kern="1200" dirty="0" smtClean="0"/>
            <a:t> de CVE, etc.</a:t>
          </a:r>
          <a:endParaRPr lang="en-US" sz="1200" kern="1200" dirty="0"/>
        </a:p>
      </dsp:txBody>
      <dsp:txXfrm rot="5400000">
        <a:off x="5518471" y="-1162627"/>
        <a:ext cx="841199" cy="5589713"/>
      </dsp:txXfrm>
    </dsp:sp>
    <dsp:sp modelId="{24BDDF1E-C104-4A50-B501-043A3EA370C8}">
      <dsp:nvSpPr>
        <dsp:cNvPr id="0" name=""/>
        <dsp:cNvSpPr/>
      </dsp:nvSpPr>
      <dsp:spPr>
        <a:xfrm>
          <a:off x="0" y="1106479"/>
          <a:ext cx="3144214" cy="105149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780" tIns="72390" rIns="144780" bIns="72390" numCol="1" spcCol="1270" anchor="ctr" anchorCtr="0">
          <a:noAutofit/>
        </a:bodyPr>
        <a:lstStyle/>
        <a:p>
          <a:pPr lvl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800" kern="1200" dirty="0" smtClean="0"/>
            <a:t>Contato Base</a:t>
          </a:r>
          <a:endParaRPr lang="en-US" sz="3800" kern="1200" dirty="0"/>
        </a:p>
      </dsp:txBody>
      <dsp:txXfrm>
        <a:off x="0" y="1106479"/>
        <a:ext cx="3144214" cy="1051499"/>
      </dsp:txXfrm>
    </dsp:sp>
    <dsp:sp modelId="{0C112BB2-9CB8-4656-9A0C-F0F26C0073C6}">
      <dsp:nvSpPr>
        <dsp:cNvPr id="0" name=""/>
        <dsp:cNvSpPr/>
      </dsp:nvSpPr>
      <dsp:spPr>
        <a:xfrm rot="5400000">
          <a:off x="5518471" y="-58552"/>
          <a:ext cx="841199" cy="5589713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Como </a:t>
          </a:r>
          <a:r>
            <a:rPr lang="en-US" sz="1200" kern="1200" dirty="0" err="1" smtClean="0"/>
            <a:t>serã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tratado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o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aditivos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serviços</a:t>
          </a:r>
          <a:r>
            <a:rPr lang="en-US" sz="1200" kern="1200" dirty="0" smtClean="0"/>
            <a:t>? A </a:t>
          </a:r>
          <a:r>
            <a:rPr lang="en-US" sz="1200" kern="1200" dirty="0" err="1" smtClean="0"/>
            <a:t>Fabiol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sugeriu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colocar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um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espécie</a:t>
          </a:r>
          <a:r>
            <a:rPr lang="en-US" sz="1200" kern="1200" dirty="0" smtClean="0"/>
            <a:t> de check box </a:t>
          </a:r>
          <a:r>
            <a:rPr lang="en-US" sz="1200" kern="1200" dirty="0" err="1" smtClean="0"/>
            <a:t>dentro</a:t>
          </a:r>
          <a:r>
            <a:rPr lang="en-US" sz="1200" kern="1200" dirty="0" smtClean="0"/>
            <a:t> do </a:t>
          </a:r>
          <a:r>
            <a:rPr lang="en-US" sz="1200" kern="1200" dirty="0" err="1" smtClean="0"/>
            <a:t>contrato</a:t>
          </a:r>
          <a:r>
            <a:rPr lang="en-US" sz="1200" kern="1200" dirty="0" smtClean="0"/>
            <a:t>. </a:t>
          </a:r>
          <a:endParaRPr lang="en-US" sz="1200" kern="1200" dirty="0"/>
        </a:p>
        <a:p>
          <a:pPr marL="114300" lvl="1" indent="-11430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err="1" smtClean="0"/>
            <a:t>Apenas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faço</a:t>
          </a:r>
          <a:r>
            <a:rPr lang="en-US" sz="1200" kern="1200" dirty="0" smtClean="0"/>
            <a:t> a </a:t>
          </a:r>
          <a:r>
            <a:rPr lang="en-US" sz="1200" kern="1200" dirty="0" err="1" smtClean="0"/>
            <a:t>observação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que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cada</a:t>
          </a:r>
          <a:r>
            <a:rPr lang="en-US" sz="1200" kern="1200" dirty="0" smtClean="0"/>
            <a:t> site </a:t>
          </a:r>
          <a:r>
            <a:rPr lang="en-US" sz="1200" kern="1200" dirty="0" err="1" smtClean="0"/>
            <a:t>trat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est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questão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maneir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diferente</a:t>
          </a:r>
          <a:r>
            <a:rPr lang="en-US" sz="1200" kern="1200" dirty="0" smtClean="0"/>
            <a:t>, </a:t>
          </a:r>
          <a:r>
            <a:rPr lang="en-US" sz="1200" kern="1200" dirty="0" err="1" smtClean="0"/>
            <a:t>ach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que</a:t>
          </a:r>
          <a:r>
            <a:rPr lang="en-US" sz="1200" kern="1200" dirty="0" smtClean="0"/>
            <a:t> um </a:t>
          </a:r>
          <a:r>
            <a:rPr lang="en-US" sz="1200" kern="1200" dirty="0" err="1" smtClean="0"/>
            <a:t>map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detalhad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cabe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aqui</a:t>
          </a:r>
          <a:r>
            <a:rPr lang="en-US" sz="1200" kern="1200" dirty="0" smtClean="0"/>
            <a:t> antes de </a:t>
          </a:r>
          <a:r>
            <a:rPr lang="en-US" sz="1200" kern="1200" dirty="0" err="1" smtClean="0"/>
            <a:t>um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decisão</a:t>
          </a:r>
          <a:endParaRPr lang="en-US" sz="1200" kern="1200" dirty="0"/>
        </a:p>
      </dsp:txBody>
      <dsp:txXfrm rot="5400000">
        <a:off x="5518471" y="-58552"/>
        <a:ext cx="841199" cy="5589713"/>
      </dsp:txXfrm>
    </dsp:sp>
    <dsp:sp modelId="{22C8CF17-A628-4F6C-AE5E-90D7C8C7A31E}">
      <dsp:nvSpPr>
        <dsp:cNvPr id="0" name=""/>
        <dsp:cNvSpPr/>
      </dsp:nvSpPr>
      <dsp:spPr>
        <a:xfrm>
          <a:off x="0" y="2210554"/>
          <a:ext cx="3144214" cy="105149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780" tIns="72390" rIns="144780" bIns="72390" numCol="1" spcCol="1270" anchor="ctr" anchorCtr="0">
          <a:noAutofit/>
        </a:bodyPr>
        <a:lstStyle/>
        <a:p>
          <a:pPr lvl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800" kern="1200" dirty="0" err="1" smtClean="0"/>
            <a:t>Aditivos</a:t>
          </a:r>
          <a:endParaRPr lang="en-US" sz="3800" kern="1200" dirty="0"/>
        </a:p>
      </dsp:txBody>
      <dsp:txXfrm>
        <a:off x="0" y="2210554"/>
        <a:ext cx="3144214" cy="1051499"/>
      </dsp:txXfrm>
    </dsp:sp>
    <dsp:sp modelId="{C6F4BC0A-0BEE-48E6-8151-9FF581BB1578}">
      <dsp:nvSpPr>
        <dsp:cNvPr id="0" name=""/>
        <dsp:cNvSpPr/>
      </dsp:nvSpPr>
      <dsp:spPr>
        <a:xfrm rot="5400000">
          <a:off x="5518471" y="1045521"/>
          <a:ext cx="841199" cy="5589713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A </a:t>
          </a:r>
          <a:r>
            <a:rPr lang="en-US" sz="1200" kern="1200" dirty="0" err="1" smtClean="0"/>
            <a:t>carta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ági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continuará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existindo</a:t>
          </a:r>
          <a:r>
            <a:rPr lang="en-US" sz="1200" kern="1200" dirty="0" smtClean="0"/>
            <a:t>? </a:t>
          </a:r>
          <a:endParaRPr lang="en-US" sz="1200" kern="1200" dirty="0"/>
        </a:p>
        <a:p>
          <a:pPr marL="114300" lvl="1" indent="-11430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err="1" smtClean="0"/>
            <a:t>Entendo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que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sim</a:t>
          </a:r>
          <a:r>
            <a:rPr lang="en-US" sz="1200" kern="1200" dirty="0" smtClean="0"/>
            <a:t>.</a:t>
          </a:r>
          <a:endParaRPr lang="en-US" sz="1200" kern="1200" dirty="0"/>
        </a:p>
      </dsp:txBody>
      <dsp:txXfrm rot="5400000">
        <a:off x="5518471" y="1045521"/>
        <a:ext cx="841199" cy="5589713"/>
      </dsp:txXfrm>
    </dsp:sp>
    <dsp:sp modelId="{270C650F-2281-4B23-9E1F-A3FDD4A7C188}">
      <dsp:nvSpPr>
        <dsp:cNvPr id="0" name=""/>
        <dsp:cNvSpPr/>
      </dsp:nvSpPr>
      <dsp:spPr>
        <a:xfrm>
          <a:off x="0" y="3314628"/>
          <a:ext cx="3144214" cy="105149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780" tIns="72390" rIns="144780" bIns="72390" numCol="1" spcCol="1270" anchor="ctr" anchorCtr="0">
          <a:noAutofit/>
        </a:bodyPr>
        <a:lstStyle/>
        <a:p>
          <a:pPr lvl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800" kern="1200" dirty="0" err="1" smtClean="0"/>
            <a:t>Carta</a:t>
          </a:r>
          <a:r>
            <a:rPr lang="en-US" sz="3800" kern="1200" dirty="0" smtClean="0"/>
            <a:t> </a:t>
          </a:r>
          <a:r>
            <a:rPr lang="en-US" sz="3800" kern="1200" dirty="0" err="1" smtClean="0"/>
            <a:t>Ágio</a:t>
          </a:r>
          <a:endParaRPr lang="en-US" sz="3800" kern="1200" dirty="0"/>
        </a:p>
      </dsp:txBody>
      <dsp:txXfrm>
        <a:off x="0" y="3314628"/>
        <a:ext cx="3144214" cy="1051499"/>
      </dsp:txXfrm>
    </dsp:sp>
    <dsp:sp modelId="{2D2CCF3C-B140-410A-9060-42334FA944C1}">
      <dsp:nvSpPr>
        <dsp:cNvPr id="0" name=""/>
        <dsp:cNvSpPr/>
      </dsp:nvSpPr>
      <dsp:spPr>
        <a:xfrm rot="5400000">
          <a:off x="5518471" y="2149596"/>
          <a:ext cx="841199" cy="5589713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Como </a:t>
          </a:r>
          <a:r>
            <a:rPr lang="en-US" sz="1200" kern="1200" dirty="0" err="1" smtClean="0"/>
            <a:t>trataremos</a:t>
          </a:r>
          <a:r>
            <a:rPr lang="en-US" sz="1200" kern="1200" dirty="0" smtClean="0"/>
            <a:t> o </a:t>
          </a:r>
          <a:r>
            <a:rPr lang="en-US" sz="1200" kern="1200" dirty="0" err="1" smtClean="0"/>
            <a:t>evento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cessão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contratação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áreas</a:t>
          </a:r>
          <a:r>
            <a:rPr lang="en-US" sz="1200" kern="1200" dirty="0" smtClean="0"/>
            <a:t>?</a:t>
          </a:r>
          <a:endParaRPr lang="en-US" sz="1200" kern="1200" dirty="0"/>
        </a:p>
      </dsp:txBody>
      <dsp:txXfrm rot="5400000">
        <a:off x="5518471" y="2149596"/>
        <a:ext cx="841199" cy="5589713"/>
      </dsp:txXfrm>
    </dsp:sp>
    <dsp:sp modelId="{6B1B07BE-9512-4512-8161-3FB9886361FB}">
      <dsp:nvSpPr>
        <dsp:cNvPr id="0" name=""/>
        <dsp:cNvSpPr/>
      </dsp:nvSpPr>
      <dsp:spPr>
        <a:xfrm>
          <a:off x="0" y="4418703"/>
          <a:ext cx="3144214" cy="105149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780" tIns="72390" rIns="144780" bIns="72390" numCol="1" spcCol="1270" anchor="ctr" anchorCtr="0">
          <a:noAutofit/>
        </a:bodyPr>
        <a:lstStyle/>
        <a:p>
          <a:pPr lvl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800" kern="1200" dirty="0" err="1" smtClean="0"/>
            <a:t>Distratos</a:t>
          </a:r>
          <a:endParaRPr lang="en-US" sz="3800" kern="1200" dirty="0"/>
        </a:p>
      </dsp:txBody>
      <dsp:txXfrm>
        <a:off x="0" y="4418703"/>
        <a:ext cx="3144214" cy="10514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2BE45C-A13A-415F-8A88-DB613CCF9550}" type="datetimeFigureOut">
              <a:rPr lang="en-US" smtClean="0"/>
              <a:pPr/>
              <a:t>4/7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021585-73F0-4726-A08E-BF88B7DD7EA6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Rectangl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B3A019F3-8596-4028-9847-CBD3A185B07A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en-US" baseline="0" dirty="0" smtClean="0"/>
          </a:p>
          <a:p>
            <a:endParaRPr lang="en-US" baseline="0" dirty="0" smtClean="0"/>
          </a:p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Rectangl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B3A019F3-8596-4028-9847-CBD3A185B07A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en-US" baseline="0" dirty="0" smtClean="0"/>
          </a:p>
          <a:p>
            <a:endParaRPr lang="en-US" baseline="0" dirty="0" smtClean="0"/>
          </a:p>
          <a:p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854A-8CBC-4BE1-A2FB-034E582A847E}" type="datetimeFigureOut">
              <a:rPr lang="en-US" smtClean="0"/>
              <a:pPr/>
              <a:t>4/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3DB43-24D0-4015-8AB5-769FF8769E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854A-8CBC-4BE1-A2FB-034E582A847E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4/7/2016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3DB43-24D0-4015-8AB5-769FF8769E3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Up: 1 Top, 2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Número de Slide 5"/>
          <p:cNvSpPr txBox="1">
            <a:spLocks/>
          </p:cNvSpPr>
          <p:nvPr userDrawn="1"/>
        </p:nvSpPr>
        <p:spPr>
          <a:xfrm>
            <a:off x="7059234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 i="0" baseline="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75FE66-5FC9-43C8-A4DA-875F1CC0254A}" type="slidenum">
              <a:rPr kumimoji="0" lang="pt-BR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pt-BR" sz="12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1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>
              <a:solidFill>
                <a:srgbClr val="7F7F7F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854A-8CBC-4BE1-A2FB-034E582A847E}" type="datetimeFigureOut">
              <a:rPr lang="en-US" smtClean="0"/>
              <a:pPr/>
              <a:t>4/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3DB43-24D0-4015-8AB5-769FF8769E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16632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484785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854A-8CBC-4BE1-A2FB-034E582A847E}" type="datetimeFigureOut">
              <a:rPr lang="en-US" smtClean="0"/>
              <a:pPr/>
              <a:t>4/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3DB43-24D0-4015-8AB5-769FF8769E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accent5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854A-8CBC-4BE1-A2FB-034E582A847E}" type="datetimeFigureOut">
              <a:rPr lang="en-US" smtClean="0"/>
              <a:pPr/>
              <a:t>4/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3DB43-24D0-4015-8AB5-769FF8769E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16632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854A-8CBC-4BE1-A2FB-034E582A847E}" type="datetimeFigureOut">
              <a:rPr lang="en-US" smtClean="0"/>
              <a:pPr/>
              <a:t>4/7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3DB43-24D0-4015-8AB5-769FF8769E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16632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854A-8CBC-4BE1-A2FB-034E582A847E}" type="datetimeFigureOut">
              <a:rPr lang="en-US" smtClean="0"/>
              <a:pPr/>
              <a:t>4/7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3DB43-24D0-4015-8AB5-769FF8769E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16632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854A-8CBC-4BE1-A2FB-034E582A847E}" type="datetimeFigureOut">
              <a:rPr lang="en-US" smtClean="0"/>
              <a:pPr/>
              <a:t>4/7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3DB43-24D0-4015-8AB5-769FF8769E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854A-8CBC-4BE1-A2FB-034E582A847E}" type="datetimeFigureOut">
              <a:rPr lang="en-US" smtClean="0"/>
              <a:pPr/>
              <a:t>4/7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3DB43-24D0-4015-8AB5-769FF8769E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solidFill>
                  <a:schemeClr val="accent5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1124743"/>
            <a:ext cx="5943600" cy="36028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854A-8CBC-4BE1-A2FB-034E582A847E}" type="datetimeFigureOut">
              <a:rPr lang="en-US" smtClean="0"/>
              <a:pPr/>
              <a:t>4/7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3DB43-24D0-4015-8AB5-769FF8769E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16632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484785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854A-8CBC-4BE1-A2FB-034E582A847E}" type="datetimeFigureOut">
              <a:rPr lang="en-US" smtClean="0"/>
              <a:pPr/>
              <a:t>4/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3DB43-24D0-4015-8AB5-769FF8769E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854A-8CBC-4BE1-A2FB-034E582A847E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4/7/2016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3DB43-24D0-4015-8AB5-769FF8769E3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854A-8CBC-4BE1-A2FB-034E582A847E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4/7/2016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3DB43-24D0-4015-8AB5-769FF8769E3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accent5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854A-8CBC-4BE1-A2FB-034E582A847E}" type="datetimeFigureOut">
              <a:rPr lang="en-US" smtClean="0"/>
              <a:pPr/>
              <a:t>4/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3DB43-24D0-4015-8AB5-769FF8769E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16632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854A-8CBC-4BE1-A2FB-034E582A847E}" type="datetimeFigureOut">
              <a:rPr lang="en-US" smtClean="0"/>
              <a:pPr/>
              <a:t>4/7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3DB43-24D0-4015-8AB5-769FF8769E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16632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854A-8CBC-4BE1-A2FB-034E582A847E}" type="datetimeFigureOut">
              <a:rPr lang="en-US" smtClean="0"/>
              <a:pPr/>
              <a:t>4/7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3DB43-24D0-4015-8AB5-769FF8769E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16632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854A-8CBC-4BE1-A2FB-034E582A847E}" type="datetimeFigureOut">
              <a:rPr lang="en-US" smtClean="0"/>
              <a:pPr/>
              <a:t>4/7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3DB43-24D0-4015-8AB5-769FF8769E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854A-8CBC-4BE1-A2FB-034E582A847E}" type="datetimeFigureOut">
              <a:rPr lang="en-US" smtClean="0"/>
              <a:pPr/>
              <a:t>4/7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3DB43-24D0-4015-8AB5-769FF8769E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solidFill>
                  <a:schemeClr val="accent5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1124743"/>
            <a:ext cx="5943600" cy="36028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854A-8CBC-4BE1-A2FB-034E582A847E}" type="datetimeFigureOut">
              <a:rPr lang="en-US" smtClean="0"/>
              <a:pPr/>
              <a:t>4/7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3DB43-24D0-4015-8AB5-769FF8769E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854A-8CBC-4BE1-A2FB-034E582A847E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4/7/2016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3DB43-24D0-4015-8AB5-769FF8769E3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6625" name="think-cell Slide" r:id="rId14" imgW="270" imgH="270" progId="TCLayout.ActiveDocument.1">
              <p:embed/>
            </p:oleObj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3A854A-8CBC-4BE1-A2FB-034E582A847E}" type="datetimeFigureOut">
              <a:rPr lang="en-US" smtClean="0"/>
              <a:pPr/>
              <a:t>4/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B3DB43-24D0-4015-8AB5-769FF8769E3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8454" y="1012260"/>
            <a:ext cx="8892000" cy="0"/>
          </a:xfrm>
          <a:prstGeom prst="line">
            <a:avLst/>
          </a:prstGeom>
          <a:ln w="28575">
            <a:solidFill>
              <a:srgbClr val="146D47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9057456" y="908720"/>
            <a:ext cx="7334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2" descr="C:\Users\brodr4\Documents\Finanças\Controladoria\Logos\Logo Financial Advisory.jpg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9057456" y="6070056"/>
            <a:ext cx="741191" cy="693348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7" r:id="rId8"/>
    <p:sldLayoutId id="2147483659" r:id="rId9"/>
    <p:sldLayoutId id="2147483668" r:id="rId10"/>
    <p:sldLayoutId id="2147483681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36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5"/>
        </a:buClr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4">
            <a:lumMod val="75000"/>
          </a:schemeClr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3"/>
        </a:buClr>
        <a:buSzPct val="80000"/>
        <a:buFont typeface="Courier New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2">
            <a:lumMod val="75000"/>
          </a:schemeClr>
        </a:buClr>
        <a:buSzPct val="80000"/>
        <a:buFont typeface="Courier New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906000" cy="908720"/>
          </a:xfrm>
          <a:prstGeom prst="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3A854A-8CBC-4BE1-A2FB-034E582A847E}" type="datetimeFigureOut">
              <a:rPr lang="en-US" smtClean="0"/>
              <a:pPr/>
              <a:t>4/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B3DB43-24D0-4015-8AB5-769FF8769E3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8454" y="1052736"/>
            <a:ext cx="8892000" cy="0"/>
          </a:xfrm>
          <a:prstGeom prst="line">
            <a:avLst/>
          </a:prstGeom>
          <a:ln w="28575">
            <a:solidFill>
              <a:srgbClr val="146D47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9057456" y="949196"/>
            <a:ext cx="7334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2" descr="C:\Users\brodr4\Documents\Finanças\Controladoria\Logos\Logo Financial Advisory.jpg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697416" y="5733256"/>
            <a:ext cx="1101231" cy="1030148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</p:sldLayoutIdLst>
  <p:txStyles>
    <p:titleStyle>
      <a:lvl1pPr algn="l" defTabSz="914400" rtl="0" eaLnBrk="1" latinLnBrk="0" hangingPunct="1">
        <a:spcBef>
          <a:spcPct val="0"/>
        </a:spcBef>
        <a:buNone/>
        <a:defRPr sz="36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5"/>
        </a:buClr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4">
            <a:lumMod val="75000"/>
          </a:schemeClr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3"/>
        </a:buClr>
        <a:buSzPct val="80000"/>
        <a:buFont typeface="Courier New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2">
            <a:lumMod val="75000"/>
          </a:schemeClr>
        </a:buClr>
        <a:buSzPct val="80000"/>
        <a:buFont typeface="Courier New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jpeg"/><Relationship Id="rId5" Type="http://schemas.openxmlformats.org/officeDocument/2006/relationships/image" Target="../media/image2.png"/><Relationship Id="rId4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11.xml"/><Relationship Id="rId7" Type="http://schemas.openxmlformats.org/officeDocument/2006/relationships/diagramLayout" Target="../diagrams/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diagramData" Target="../diagrams/data1.xml"/><Relationship Id="rId5" Type="http://schemas.openxmlformats.org/officeDocument/2006/relationships/oleObject" Target="../embeddings/oleObject2.bin"/><Relationship Id="rId10" Type="http://schemas.microsoft.com/office/2007/relationships/diagramDrawing" Target="../diagrams/drawing1.xml"/><Relationship Id="rId4" Type="http://schemas.openxmlformats.org/officeDocument/2006/relationships/notesSlide" Target="../notesSlides/notesSlide1.xml"/><Relationship Id="rId9" Type="http://schemas.openxmlformats.org/officeDocument/2006/relationships/diagramColors" Target="../diagrams/colors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slideLayout" Target="../slideLayouts/slideLayout11.xml"/><Relationship Id="rId7" Type="http://schemas.openxmlformats.org/officeDocument/2006/relationships/diagramLayout" Target="../diagrams/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diagramData" Target="../diagrams/data2.xml"/><Relationship Id="rId5" Type="http://schemas.openxmlformats.org/officeDocument/2006/relationships/oleObject" Target="../embeddings/oleObject3.bin"/><Relationship Id="rId10" Type="http://schemas.microsoft.com/office/2007/relationships/diagramDrawing" Target="../diagrams/drawing2.xml"/><Relationship Id="rId4" Type="http://schemas.openxmlformats.org/officeDocument/2006/relationships/notesSlide" Target="../notesSlides/notesSlide2.xml"/><Relationship Id="rId9" Type="http://schemas.openxmlformats.org/officeDocument/2006/relationships/diagramColors" Target="../diagrams/colors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/>
          <p:cNvSpPr/>
          <p:nvPr/>
        </p:nvSpPr>
        <p:spPr>
          <a:xfrm>
            <a:off x="3728864" y="3429000"/>
            <a:ext cx="1440160" cy="1368152"/>
          </a:xfrm>
          <a:prstGeom prst="ellipse">
            <a:avLst/>
          </a:prstGeom>
          <a:blipFill dpi="0" rotWithShape="1">
            <a:blip r:embed="rId2" cstate="print"/>
            <a:srcRect/>
            <a:stretch>
              <a:fillRect l="-12000"/>
            </a:stretch>
          </a:blip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/>
          <p:cNvSpPr/>
          <p:nvPr/>
        </p:nvSpPr>
        <p:spPr>
          <a:xfrm>
            <a:off x="5385048" y="3429000"/>
            <a:ext cx="1440160" cy="1368152"/>
          </a:xfrm>
          <a:prstGeom prst="ellipse">
            <a:avLst/>
          </a:prstGeom>
          <a:blipFill dpi="0" rotWithShape="1">
            <a:blip r:embed="rId3" cstate="print"/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7041232" y="3429000"/>
            <a:ext cx="1440160" cy="1368152"/>
          </a:xfrm>
          <a:prstGeom prst="ellipse">
            <a:avLst/>
          </a:prstGeom>
          <a:blipFill dpi="0" rotWithShape="1">
            <a:blip r:embed="rId4" cstate="print"/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7"/>
          <p:cNvSpPr txBox="1">
            <a:spLocks/>
          </p:cNvSpPr>
          <p:nvPr/>
        </p:nvSpPr>
        <p:spPr>
          <a:xfrm>
            <a:off x="623101" y="869950"/>
            <a:ext cx="6562147" cy="106350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altLang="en-GB" sz="3600" dirty="0" smtClean="0">
                <a:solidFill>
                  <a:schemeClr val="accent5"/>
                </a:solidFill>
                <a:latin typeface="Trebuchet MS" pitchFamily="34" charset="0"/>
                <a:ea typeface="+mj-ea"/>
                <a:cs typeface="+mj-cs"/>
              </a:rPr>
              <a:t>Controladoria Corporativa</a:t>
            </a:r>
            <a:r>
              <a:rPr kumimoji="0" lang="pt-BR" altLang="en-GB" sz="3600" i="0" u="none" strike="noStrike" kern="1200" cap="none" spc="0" normalizeH="0" baseline="0" dirty="0" smtClean="0">
                <a:ln>
                  <a:noFill/>
                </a:ln>
                <a:solidFill>
                  <a:srgbClr val="92D4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pt-BR" altLang="en-GB" sz="3600" i="0" u="none" strike="noStrike" kern="1200" cap="none" spc="0" normalizeH="0" baseline="0" dirty="0" smtClean="0">
                <a:ln>
                  <a:noFill/>
                </a:ln>
                <a:solidFill>
                  <a:srgbClr val="92D4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pt-BR" sz="3600" i="0" u="none" strike="noStrike" kern="1200" cap="none" spc="0" normalizeH="0" baseline="0" dirty="0" smtClean="0">
              <a:ln>
                <a:noFill/>
              </a:ln>
              <a:solidFill>
                <a:schemeClr val="accent4">
                  <a:lumMod val="75000"/>
                </a:schemeClr>
              </a:solidFill>
              <a:effectLst/>
              <a:uLnTx/>
              <a:uFillTx/>
              <a:latin typeface="Trebuchet MS" pitchFamily="34" charset="0"/>
              <a:ea typeface="+mj-ea"/>
              <a:cs typeface="+mj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74525" y="5229200"/>
            <a:ext cx="60066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>
                <a:solidFill>
                  <a:schemeClr val="accent5"/>
                </a:solidFill>
              </a:rPr>
              <a:t>Abril 2016</a:t>
            </a:r>
            <a:endParaRPr lang="pt-BR" sz="1600" b="1" dirty="0">
              <a:solidFill>
                <a:schemeClr val="accent5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0" y="6237312"/>
            <a:ext cx="9906000" cy="62068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Connector 22"/>
          <p:cNvCxnSpPr/>
          <p:nvPr/>
        </p:nvCxnSpPr>
        <p:spPr>
          <a:xfrm>
            <a:off x="38454" y="6062660"/>
            <a:ext cx="8892000" cy="0"/>
          </a:xfrm>
          <a:prstGeom prst="line">
            <a:avLst/>
          </a:prstGeom>
          <a:ln w="28575">
            <a:solidFill>
              <a:srgbClr val="146D47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" name="Rectangle 17"/>
          <p:cNvSpPr txBox="1">
            <a:spLocks/>
          </p:cNvSpPr>
          <p:nvPr/>
        </p:nvSpPr>
        <p:spPr>
          <a:xfrm>
            <a:off x="616754" y="2005459"/>
            <a:ext cx="8584718" cy="106350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altLang="en-GB" sz="3600" dirty="0" smtClean="0">
                <a:solidFill>
                  <a:schemeClr val="accent4">
                    <a:lumMod val="75000"/>
                  </a:schemeClr>
                </a:solidFill>
                <a:latin typeface="Trebuchet MS" pitchFamily="34" charset="0"/>
                <a:ea typeface="+mj-ea"/>
                <a:cs typeface="+mj-cs"/>
              </a:rPr>
              <a:t>MINUTAS JURÍDICAS DE GROWERS</a:t>
            </a:r>
            <a:endParaRPr lang="pt-BR" altLang="en-GB" sz="3600" dirty="0" smtClean="0">
              <a:solidFill>
                <a:schemeClr val="accent4">
                  <a:lumMod val="75000"/>
                </a:schemeClr>
              </a:solidFill>
              <a:latin typeface="Trebuchet MS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GB" sz="3600" b="0" i="0" u="none" strike="noStrike" kern="1200" cap="none" spc="0" normalizeH="0" baseline="0" dirty="0" smtClean="0">
                <a:ln>
                  <a:noFill/>
                </a:ln>
                <a:solidFill>
                  <a:srgbClr val="92D4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pt-BR" altLang="en-GB" sz="3600" b="0" i="0" u="none" strike="noStrike" kern="1200" cap="none" spc="0" normalizeH="0" baseline="0" dirty="0" smtClean="0">
                <a:ln>
                  <a:noFill/>
                </a:ln>
                <a:solidFill>
                  <a:srgbClr val="92D4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pt-BR" sz="3600" b="0" i="0" u="none" strike="noStrike" kern="1200" cap="none" spc="0" normalizeH="0" baseline="0" dirty="0" smtClean="0">
              <a:ln>
                <a:noFill/>
              </a:ln>
              <a:solidFill>
                <a:schemeClr val="accent4">
                  <a:lumMod val="75000"/>
                </a:schemeClr>
              </a:solidFill>
              <a:effectLst/>
              <a:uLnTx/>
              <a:uFillTx/>
              <a:latin typeface="Trebuchet MS" pitchFamily="34" charset="0"/>
              <a:ea typeface="+mj-ea"/>
              <a:cs typeface="+mj-cs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057456" y="5961087"/>
            <a:ext cx="7334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2" descr="C:\Users\brodr4\Documents\Finanças\Controladoria\Logos\Logo Financial Advisory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400440" y="166052"/>
            <a:ext cx="1361541" cy="12736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/>
        </p:nvGraphicFramePr>
        <p:xfrm>
          <a:off x="1720" y="1589"/>
          <a:ext cx="1719" cy="1587"/>
        </p:xfrm>
        <a:graphic>
          <a:graphicData uri="http://schemas.openxmlformats.org/presentationml/2006/ole">
            <p:oleObj spid="_x0000_s230402" name="think-cell Slide" r:id="rId5" imgW="270" imgH="270" progId="TCLayout.ActiveDocument.1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libri"/>
              <a:sym typeface="Calibri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44488" y="313492"/>
            <a:ext cx="569175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spcBef>
                <a:spcPct val="0"/>
              </a:spcBef>
            </a:pPr>
            <a:r>
              <a:rPr lang="pt-BR" sz="2800" b="1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Estrutura de Minutas – Cenário Atual</a:t>
            </a:r>
            <a:endParaRPr lang="pt-BR" sz="2800" b="1" dirty="0" smtClean="0">
              <a:solidFill>
                <a:schemeClr val="accent5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6" name="Diagram 5"/>
          <p:cNvGraphicFramePr/>
          <p:nvPr/>
        </p:nvGraphicFramePr>
        <p:xfrm>
          <a:off x="251520" y="1268760"/>
          <a:ext cx="8805936" cy="5400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/>
        </p:nvGraphicFramePr>
        <p:xfrm>
          <a:off x="1720" y="1589"/>
          <a:ext cx="1719" cy="1587"/>
        </p:xfrm>
        <a:graphic>
          <a:graphicData uri="http://schemas.openxmlformats.org/presentationml/2006/ole">
            <p:oleObj spid="_x0000_s232450" name="think-cell Slide" r:id="rId5" imgW="270" imgH="270" progId="TCLayout.ActiveDocument.1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libri"/>
              <a:sym typeface="Calibri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44488" y="313492"/>
            <a:ext cx="628627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spcBef>
                <a:spcPct val="0"/>
              </a:spcBef>
            </a:pPr>
            <a:r>
              <a:rPr lang="pt-BR" sz="2800" b="1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Estrutura de Minutas – Cenário Desejado</a:t>
            </a:r>
            <a:endParaRPr lang="pt-BR" sz="2800" b="1" dirty="0" smtClean="0">
              <a:solidFill>
                <a:schemeClr val="accent5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8" name="Diagram 7"/>
          <p:cNvGraphicFramePr/>
          <p:nvPr/>
        </p:nvGraphicFramePr>
        <p:xfrm>
          <a:off x="251520" y="1196752"/>
          <a:ext cx="8733928" cy="54726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brodr4\Documents\Finanças\Controladoria\Logos\Logo Financial Advisory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67583" y="1899848"/>
            <a:ext cx="3069848" cy="2871694"/>
          </a:xfrm>
          <a:prstGeom prst="rect">
            <a:avLst/>
          </a:prstGeom>
          <a:noFill/>
        </p:spPr>
      </p:pic>
      <p:sp>
        <p:nvSpPr>
          <p:cNvPr id="3" name="TextBox 2"/>
          <p:cNvSpPr txBox="1"/>
          <p:nvPr/>
        </p:nvSpPr>
        <p:spPr>
          <a:xfrm>
            <a:off x="2840058" y="1405954"/>
            <a:ext cx="4032448" cy="3960440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255424"/>
              </a:avLst>
            </a:prstTxWarp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5"/>
                </a:solidFill>
                <a:latin typeface="Trebuchet MS" pitchFamily="34" charset="0"/>
              </a:rPr>
              <a:t>Financial Advisory</a:t>
            </a:r>
            <a:endParaRPr lang="en-US" sz="2400" b="1" dirty="0">
              <a:solidFill>
                <a:schemeClr val="accent5"/>
              </a:solidFill>
              <a:latin typeface="Trebuchet MS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880534" y="1628800"/>
            <a:ext cx="3960440" cy="3744416"/>
          </a:xfrm>
          <a:prstGeom prst="rect">
            <a:avLst/>
          </a:prstGeom>
          <a:noFill/>
        </p:spPr>
        <p:txBody>
          <a:bodyPr wrap="square" rtlCol="0">
            <a:prstTxWarp prst="textArchDown">
              <a:avLst>
                <a:gd name="adj" fmla="val 728412"/>
              </a:avLst>
            </a:prstTxWarp>
            <a:spAutoFit/>
          </a:bodyPr>
          <a:lstStyle/>
          <a:p>
            <a:pPr algn="ctr"/>
            <a:r>
              <a:rPr lang="pt-BR" sz="2000" dirty="0" smtClean="0">
                <a:solidFill>
                  <a:schemeClr val="accent5"/>
                </a:solidFill>
                <a:latin typeface="Trebuchet MS" pitchFamily="34" charset="0"/>
              </a:rPr>
              <a:t>Conhecimento para adicionar e proteger valor</a:t>
            </a:r>
          </a:p>
          <a:p>
            <a:endParaRPr lang="en-US" sz="2000" dirty="0">
              <a:solidFill>
                <a:schemeClr val="accent5"/>
              </a:solidFill>
              <a:latin typeface="Trebuchet MS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1&quot;&gt;&lt;elem m_fUsage=&quot;2.71000000000000000000E+000&quot;&gt;&lt;m_msothmcolidx val=&quot;0&quot;/&gt;&lt;m_rgb r=&quot;e4&quot; g=&quot;6c&quot; b=&quot;a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y8tAaXMEuNEsiqbHot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y8tAaXMEuNEsiqbHotAQ"/>
</p:tagLst>
</file>

<file path=ppt/theme/theme1.xml><?xml version="1.0" encoding="utf-8"?>
<a:theme xmlns:a="http://schemas.openxmlformats.org/drawingml/2006/main" name="Office Theme">
  <a:themeElements>
    <a:clrScheme name="Pallet MON">
      <a:dk1>
        <a:srgbClr val="000000"/>
      </a:dk1>
      <a:lt1>
        <a:srgbClr val="FFFFFF"/>
      </a:lt1>
      <a:dk2>
        <a:srgbClr val="D5C39F"/>
      </a:dk2>
      <a:lt2>
        <a:srgbClr val="713F03"/>
      </a:lt2>
      <a:accent1>
        <a:srgbClr val="BA4619"/>
      </a:accent1>
      <a:accent2>
        <a:srgbClr val="F4BE1F"/>
      </a:accent2>
      <a:accent3>
        <a:srgbClr val="E27F08"/>
      </a:accent3>
      <a:accent4>
        <a:srgbClr val="B3DD11"/>
      </a:accent4>
      <a:accent5>
        <a:srgbClr val="004033"/>
      </a:accent5>
      <a:accent6>
        <a:srgbClr val="00497B"/>
      </a:accent6>
      <a:hlink>
        <a:srgbClr val="959460"/>
      </a:hlink>
      <a:folHlink>
        <a:srgbClr val="95946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Pallet MON">
      <a:dk1>
        <a:srgbClr val="000000"/>
      </a:dk1>
      <a:lt1>
        <a:srgbClr val="FFFFFF"/>
      </a:lt1>
      <a:dk2>
        <a:srgbClr val="D5C39F"/>
      </a:dk2>
      <a:lt2>
        <a:srgbClr val="713F03"/>
      </a:lt2>
      <a:accent1>
        <a:srgbClr val="BA4619"/>
      </a:accent1>
      <a:accent2>
        <a:srgbClr val="F4BE1F"/>
      </a:accent2>
      <a:accent3>
        <a:srgbClr val="E27F08"/>
      </a:accent3>
      <a:accent4>
        <a:srgbClr val="B3DD11"/>
      </a:accent4>
      <a:accent5>
        <a:srgbClr val="004033"/>
      </a:accent5>
      <a:accent6>
        <a:srgbClr val="00497B"/>
      </a:accent6>
      <a:hlink>
        <a:srgbClr val="959460"/>
      </a:hlink>
      <a:folHlink>
        <a:srgbClr val="95946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52</TotalTime>
  <Words>381</Words>
  <Application>Microsoft Office PowerPoint</Application>
  <PresentationFormat>A4 Paper (210x297 mm)</PresentationFormat>
  <Paragraphs>38</Paragraphs>
  <Slides>4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7" baseType="lpstr">
      <vt:lpstr>Office Theme</vt:lpstr>
      <vt:lpstr>1_Office Theme</vt:lpstr>
      <vt:lpstr>think-cell Slide</vt:lpstr>
      <vt:lpstr>Slide 1</vt:lpstr>
      <vt:lpstr>Slide 2</vt:lpstr>
      <vt:lpstr>Slide 3</vt:lpstr>
      <vt:lpstr>Slide 4</vt:lpstr>
    </vt:vector>
  </TitlesOfParts>
  <Company>Monsanto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brodr4</dc:creator>
  <cp:lastModifiedBy>rcora1</cp:lastModifiedBy>
  <cp:revision>403</cp:revision>
  <dcterms:created xsi:type="dcterms:W3CDTF">2014-02-05T13:00:13Z</dcterms:created>
  <dcterms:modified xsi:type="dcterms:W3CDTF">2016-04-07T18:11:31Z</dcterms:modified>
</cp:coreProperties>
</file>